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sldIdLst>
    <p:sldId id="316" r:id="rId5"/>
    <p:sldId id="342" r:id="rId6"/>
    <p:sldId id="318" r:id="rId7"/>
    <p:sldId id="339" r:id="rId8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6FE20D-69AB-4825-B600-A6D382B193A8}" v="11" dt="2023-06-07T15:58:29.953"/>
    <p1510:client id="{5AB125C5-687A-4D7A-96A5-F83AC2AAA0C3}" v="81" dt="2023-06-08T08:42:59.212"/>
    <p1510:client id="{D99C18D5-165A-4E5A-85B8-62BF2E9905C5}" v="10" dt="2023-06-08T08:45:49.2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17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onie van der Steen" userId="S::vandersteen@squarewise.com::f0872cc2-7c0d-4d13-a494-86c0ec7f1667" providerId="AD" clId="Web-{5AB125C5-687A-4D7A-96A5-F83AC2AAA0C3}"/>
    <pc:docChg chg="modSld">
      <pc:chgData name="Leonie van der Steen" userId="S::vandersteen@squarewise.com::f0872cc2-7c0d-4d13-a494-86c0ec7f1667" providerId="AD" clId="Web-{5AB125C5-687A-4D7A-96A5-F83AC2AAA0C3}" dt="2023-06-08T08:42:59.212" v="72"/>
      <pc:docMkLst>
        <pc:docMk/>
      </pc:docMkLst>
      <pc:sldChg chg="addSp delSp modSp addAnim">
        <pc:chgData name="Leonie van der Steen" userId="S::vandersteen@squarewise.com::f0872cc2-7c0d-4d13-a494-86c0ec7f1667" providerId="AD" clId="Web-{5AB125C5-687A-4D7A-96A5-F83AC2AAA0C3}" dt="2023-06-08T08:42:59.212" v="72"/>
        <pc:sldMkLst>
          <pc:docMk/>
          <pc:sldMk cId="1491204984" sldId="318"/>
        </pc:sldMkLst>
        <pc:spChg chg="add del">
          <ac:chgData name="Leonie van der Steen" userId="S::vandersteen@squarewise.com::f0872cc2-7c0d-4d13-a494-86c0ec7f1667" providerId="AD" clId="Web-{5AB125C5-687A-4D7A-96A5-F83AC2AAA0C3}" dt="2023-06-08T08:41:37.304" v="53"/>
          <ac:spMkLst>
            <pc:docMk/>
            <pc:sldMk cId="1491204984" sldId="318"/>
            <ac:spMk id="4" creationId="{8F1AD0C2-2EAC-FD76-0CF8-4194A019AC04}"/>
          </ac:spMkLst>
        </pc:spChg>
        <pc:spChg chg="mod">
          <ac:chgData name="Leonie van der Steen" userId="S::vandersteen@squarewise.com::f0872cc2-7c0d-4d13-a494-86c0ec7f1667" providerId="AD" clId="Web-{5AB125C5-687A-4D7A-96A5-F83AC2AAA0C3}" dt="2023-06-08T08:41:23.100" v="51" actId="1076"/>
          <ac:spMkLst>
            <pc:docMk/>
            <pc:sldMk cId="1491204984" sldId="318"/>
            <ac:spMk id="6" creationId="{87DEE385-C2BB-5655-FE35-2A2AAAF31887}"/>
          </ac:spMkLst>
        </pc:spChg>
        <pc:picChg chg="add mod">
          <ac:chgData name="Leonie van der Steen" userId="S::vandersteen@squarewise.com::f0872cc2-7c0d-4d13-a494-86c0ec7f1667" providerId="AD" clId="Web-{5AB125C5-687A-4D7A-96A5-F83AC2AAA0C3}" dt="2023-06-08T08:42:33.227" v="66" actId="1076"/>
          <ac:picMkLst>
            <pc:docMk/>
            <pc:sldMk cId="1491204984" sldId="318"/>
            <ac:picMk id="8" creationId="{EAFD8EEA-14CD-08CD-E0A9-599F4D0594DA}"/>
          </ac:picMkLst>
        </pc:picChg>
        <pc:picChg chg="add mod">
          <ac:chgData name="Leonie van der Steen" userId="S::vandersteen@squarewise.com::f0872cc2-7c0d-4d13-a494-86c0ec7f1667" providerId="AD" clId="Web-{5AB125C5-687A-4D7A-96A5-F83AC2AAA0C3}" dt="2023-06-08T08:42:39.727" v="68" actId="1076"/>
          <ac:picMkLst>
            <pc:docMk/>
            <pc:sldMk cId="1491204984" sldId="318"/>
            <ac:picMk id="10" creationId="{2F44172D-D7FD-7EB2-2A37-9F3F1FFCFA9B}"/>
          </ac:picMkLst>
        </pc:picChg>
        <pc:picChg chg="add mod">
          <ac:chgData name="Leonie van der Steen" userId="S::vandersteen@squarewise.com::f0872cc2-7c0d-4d13-a494-86c0ec7f1667" providerId="AD" clId="Web-{5AB125C5-687A-4D7A-96A5-F83AC2AAA0C3}" dt="2023-06-08T08:42:49.993" v="70" actId="1076"/>
          <ac:picMkLst>
            <pc:docMk/>
            <pc:sldMk cId="1491204984" sldId="318"/>
            <ac:picMk id="12" creationId="{B1FF4B22-BCEA-9009-3FE4-C4DB771C263D}"/>
          </ac:picMkLst>
        </pc:picChg>
        <pc:picChg chg="add mod">
          <ac:chgData name="Leonie van der Steen" userId="S::vandersteen@squarewise.com::f0872cc2-7c0d-4d13-a494-86c0ec7f1667" providerId="AD" clId="Web-{5AB125C5-687A-4D7A-96A5-F83AC2AAA0C3}" dt="2023-06-08T08:42:49.993" v="71" actId="1076"/>
          <ac:picMkLst>
            <pc:docMk/>
            <pc:sldMk cId="1491204984" sldId="318"/>
            <ac:picMk id="14" creationId="{6FD7EC53-ABCB-4A67-CE93-F377A0FAFE44}"/>
          </ac:picMkLst>
        </pc:picChg>
      </pc:sldChg>
      <pc:sldChg chg="delSp modSp">
        <pc:chgData name="Leonie van der Steen" userId="S::vandersteen@squarewise.com::f0872cc2-7c0d-4d13-a494-86c0ec7f1667" providerId="AD" clId="Web-{5AB125C5-687A-4D7A-96A5-F83AC2AAA0C3}" dt="2023-06-08T08:42:12.883" v="57" actId="1076"/>
        <pc:sldMkLst>
          <pc:docMk/>
          <pc:sldMk cId="2775329525" sldId="342"/>
        </pc:sldMkLst>
        <pc:spChg chg="mod">
          <ac:chgData name="Leonie van der Steen" userId="S::vandersteen@squarewise.com::f0872cc2-7c0d-4d13-a494-86c0ec7f1667" providerId="AD" clId="Web-{5AB125C5-687A-4D7A-96A5-F83AC2AAA0C3}" dt="2023-06-08T08:42:07.054" v="55" actId="1076"/>
          <ac:spMkLst>
            <pc:docMk/>
            <pc:sldMk cId="2775329525" sldId="342"/>
            <ac:spMk id="2" creationId="{2FD899C6-7712-79EF-F98C-FA83FA23D9C5}"/>
          </ac:spMkLst>
        </pc:spChg>
        <pc:spChg chg="mod">
          <ac:chgData name="Leonie van der Steen" userId="S::vandersteen@squarewise.com::f0872cc2-7c0d-4d13-a494-86c0ec7f1667" providerId="AD" clId="Web-{5AB125C5-687A-4D7A-96A5-F83AC2AAA0C3}" dt="2023-06-08T08:42:12.883" v="57" actId="1076"/>
          <ac:spMkLst>
            <pc:docMk/>
            <pc:sldMk cId="2775329525" sldId="342"/>
            <ac:spMk id="3" creationId="{2C98D9A6-A69B-7873-D567-AC34B0DE80A2}"/>
          </ac:spMkLst>
        </pc:spChg>
        <pc:spChg chg="del">
          <ac:chgData name="Leonie van der Steen" userId="S::vandersteen@squarewise.com::f0872cc2-7c0d-4d13-a494-86c0ec7f1667" providerId="AD" clId="Web-{5AB125C5-687A-4D7A-96A5-F83AC2AAA0C3}" dt="2023-06-08T08:41:49.648" v="54"/>
          <ac:spMkLst>
            <pc:docMk/>
            <pc:sldMk cId="2775329525" sldId="342"/>
            <ac:spMk id="6" creationId="{69107CD2-4E88-525C-16C3-08D85F3ECAE8}"/>
          </ac:spMkLst>
        </pc:spChg>
      </pc:sldChg>
    </pc:docChg>
  </pc:docChgLst>
  <pc:docChgLst>
    <pc:chgData name="Leonie van der Steen" userId="f0872cc2-7c0d-4d13-a494-86c0ec7f1667" providerId="ADAL" clId="{D99C18D5-165A-4E5A-85B8-62BF2E9905C5}"/>
    <pc:docChg chg="delSld modSld sldOrd">
      <pc:chgData name="Leonie van der Steen" userId="f0872cc2-7c0d-4d13-a494-86c0ec7f1667" providerId="ADAL" clId="{D99C18D5-165A-4E5A-85B8-62BF2E9905C5}" dt="2023-06-08T08:46:11.092" v="79" actId="47"/>
      <pc:docMkLst>
        <pc:docMk/>
      </pc:docMkLst>
      <pc:sldChg chg="del ord">
        <pc:chgData name="Leonie van der Steen" userId="f0872cc2-7c0d-4d13-a494-86c0ec7f1667" providerId="ADAL" clId="{D99C18D5-165A-4E5A-85B8-62BF2E9905C5}" dt="2023-06-08T08:46:11.092" v="79" actId="47"/>
        <pc:sldMkLst>
          <pc:docMk/>
          <pc:sldMk cId="1921886824" sldId="282"/>
        </pc:sldMkLst>
      </pc:sldChg>
      <pc:sldChg chg="modSp mod modAnim">
        <pc:chgData name="Leonie van der Steen" userId="f0872cc2-7c0d-4d13-a494-86c0ec7f1667" providerId="ADAL" clId="{D99C18D5-165A-4E5A-85B8-62BF2E9905C5}" dt="2023-06-08T08:45:49.273" v="76"/>
        <pc:sldMkLst>
          <pc:docMk/>
          <pc:sldMk cId="1491204984" sldId="318"/>
        </pc:sldMkLst>
        <pc:spChg chg="mod">
          <ac:chgData name="Leonie van der Steen" userId="f0872cc2-7c0d-4d13-a494-86c0ec7f1667" providerId="ADAL" clId="{D99C18D5-165A-4E5A-85B8-62BF2E9905C5}" dt="2023-06-08T08:43:39.824" v="15" actId="1035"/>
          <ac:spMkLst>
            <pc:docMk/>
            <pc:sldMk cId="1491204984" sldId="318"/>
            <ac:spMk id="5" creationId="{428862CC-554A-5D99-BB84-C8C3EA6B3778}"/>
          </ac:spMkLst>
        </pc:spChg>
        <pc:spChg chg="mod">
          <ac:chgData name="Leonie van der Steen" userId="f0872cc2-7c0d-4d13-a494-86c0ec7f1667" providerId="ADAL" clId="{D99C18D5-165A-4E5A-85B8-62BF2E9905C5}" dt="2023-06-08T08:43:39.824" v="15" actId="1035"/>
          <ac:spMkLst>
            <pc:docMk/>
            <pc:sldMk cId="1491204984" sldId="318"/>
            <ac:spMk id="6" creationId="{87DEE385-C2BB-5655-FE35-2A2AAAF31887}"/>
          </ac:spMkLst>
        </pc:spChg>
        <pc:picChg chg="mod">
          <ac:chgData name="Leonie van der Steen" userId="f0872cc2-7c0d-4d13-a494-86c0ec7f1667" providerId="ADAL" clId="{D99C18D5-165A-4E5A-85B8-62BF2E9905C5}" dt="2023-06-08T08:44:26.633" v="67" actId="1038"/>
          <ac:picMkLst>
            <pc:docMk/>
            <pc:sldMk cId="1491204984" sldId="318"/>
            <ac:picMk id="8" creationId="{EAFD8EEA-14CD-08CD-E0A9-599F4D0594DA}"/>
          </ac:picMkLst>
        </pc:picChg>
        <pc:picChg chg="mod">
          <ac:chgData name="Leonie van der Steen" userId="f0872cc2-7c0d-4d13-a494-86c0ec7f1667" providerId="ADAL" clId="{D99C18D5-165A-4E5A-85B8-62BF2E9905C5}" dt="2023-06-08T08:44:21.116" v="62" actId="1038"/>
          <ac:picMkLst>
            <pc:docMk/>
            <pc:sldMk cId="1491204984" sldId="318"/>
            <ac:picMk id="10" creationId="{2F44172D-D7FD-7EB2-2A37-9F3F1FFCFA9B}"/>
          </ac:picMkLst>
        </pc:picChg>
        <pc:picChg chg="mod">
          <ac:chgData name="Leonie van der Steen" userId="f0872cc2-7c0d-4d13-a494-86c0ec7f1667" providerId="ADAL" clId="{D99C18D5-165A-4E5A-85B8-62BF2E9905C5}" dt="2023-06-08T08:44:26.633" v="67" actId="1038"/>
          <ac:picMkLst>
            <pc:docMk/>
            <pc:sldMk cId="1491204984" sldId="318"/>
            <ac:picMk id="12" creationId="{B1FF4B22-BCEA-9009-3FE4-C4DB771C263D}"/>
          </ac:picMkLst>
        </pc:picChg>
        <pc:picChg chg="mod">
          <ac:chgData name="Leonie van der Steen" userId="f0872cc2-7c0d-4d13-a494-86c0ec7f1667" providerId="ADAL" clId="{D99C18D5-165A-4E5A-85B8-62BF2E9905C5}" dt="2023-06-08T08:44:21.116" v="62" actId="1038"/>
          <ac:picMkLst>
            <pc:docMk/>
            <pc:sldMk cId="1491204984" sldId="318"/>
            <ac:picMk id="14" creationId="{6FD7EC53-ABCB-4A67-CE93-F377A0FAFE44}"/>
          </ac:picMkLst>
        </pc:picChg>
      </pc:sldChg>
      <pc:sldChg chg="modSp mod">
        <pc:chgData name="Leonie van der Steen" userId="f0872cc2-7c0d-4d13-a494-86c0ec7f1667" providerId="ADAL" clId="{D99C18D5-165A-4E5A-85B8-62BF2E9905C5}" dt="2023-06-08T08:44:00.978" v="27" actId="948"/>
        <pc:sldMkLst>
          <pc:docMk/>
          <pc:sldMk cId="2775329525" sldId="342"/>
        </pc:sldMkLst>
        <pc:spChg chg="mod">
          <ac:chgData name="Leonie van der Steen" userId="f0872cc2-7c0d-4d13-a494-86c0ec7f1667" providerId="ADAL" clId="{D99C18D5-165A-4E5A-85B8-62BF2E9905C5}" dt="2023-06-08T08:43:46.879" v="26" actId="1035"/>
          <ac:spMkLst>
            <pc:docMk/>
            <pc:sldMk cId="2775329525" sldId="342"/>
            <ac:spMk id="2" creationId="{2FD899C6-7712-79EF-F98C-FA83FA23D9C5}"/>
          </ac:spMkLst>
        </pc:spChg>
        <pc:spChg chg="mod">
          <ac:chgData name="Leonie van der Steen" userId="f0872cc2-7c0d-4d13-a494-86c0ec7f1667" providerId="ADAL" clId="{D99C18D5-165A-4E5A-85B8-62BF2E9905C5}" dt="2023-06-08T08:44:00.978" v="27" actId="948"/>
          <ac:spMkLst>
            <pc:docMk/>
            <pc:sldMk cId="2775329525" sldId="342"/>
            <ac:spMk id="3" creationId="{2C98D9A6-A69B-7873-D567-AC34B0DE80A2}"/>
          </ac:spMkLst>
        </pc:spChg>
      </pc:sldChg>
      <pc:sldMasterChg chg="delSldLayout">
        <pc:chgData name="Leonie van der Steen" userId="f0872cc2-7c0d-4d13-a494-86c0ec7f1667" providerId="ADAL" clId="{D99C18D5-165A-4E5A-85B8-62BF2E9905C5}" dt="2023-06-08T08:46:11.092" v="79" actId="47"/>
        <pc:sldMasterMkLst>
          <pc:docMk/>
          <pc:sldMasterMk cId="1763326688" sldId="2147483660"/>
        </pc:sldMasterMkLst>
        <pc:sldLayoutChg chg="del">
          <pc:chgData name="Leonie van der Steen" userId="f0872cc2-7c0d-4d13-a494-86c0ec7f1667" providerId="ADAL" clId="{D99C18D5-165A-4E5A-85B8-62BF2E9905C5}" dt="2023-06-08T08:46:11.092" v="79" actId="47"/>
          <pc:sldLayoutMkLst>
            <pc:docMk/>
            <pc:sldMasterMk cId="1763326688" sldId="2147483660"/>
            <pc:sldLayoutMk cId="370895207" sldId="2147483704"/>
          </pc:sldLayoutMkLst>
        </pc:sldLayoutChg>
      </pc:sldMasterChg>
    </pc:docChg>
  </pc:docChgLst>
  <pc:docChgLst>
    <pc:chgData name="Charlotte Derksen" userId="c809a752-6182-4d31-af0a-c8ef6f12b0b6" providerId="ADAL" clId="{076FE20D-69AB-4825-B600-A6D382B193A8}"/>
    <pc:docChg chg="custSel addSld delSld modSld sldOrd">
      <pc:chgData name="Charlotte Derksen" userId="c809a752-6182-4d31-af0a-c8ef6f12b0b6" providerId="ADAL" clId="{076FE20D-69AB-4825-B600-A6D382B193A8}" dt="2023-06-07T16:03:04.645" v="719" actId="14100"/>
      <pc:docMkLst>
        <pc:docMk/>
      </pc:docMkLst>
      <pc:sldChg chg="add">
        <pc:chgData name="Charlotte Derksen" userId="c809a752-6182-4d31-af0a-c8ef6f12b0b6" providerId="ADAL" clId="{076FE20D-69AB-4825-B600-A6D382B193A8}" dt="2023-06-07T09:38:21.595" v="84"/>
        <pc:sldMkLst>
          <pc:docMk/>
          <pc:sldMk cId="1921886824" sldId="282"/>
        </pc:sldMkLst>
      </pc:sldChg>
      <pc:sldChg chg="addSp delSp modSp mod">
        <pc:chgData name="Charlotte Derksen" userId="c809a752-6182-4d31-af0a-c8ef6f12b0b6" providerId="ADAL" clId="{076FE20D-69AB-4825-B600-A6D382B193A8}" dt="2023-06-07T16:03:04.645" v="719" actId="14100"/>
        <pc:sldMkLst>
          <pc:docMk/>
          <pc:sldMk cId="1491204984" sldId="318"/>
        </pc:sldMkLst>
        <pc:spChg chg="del mod">
          <ac:chgData name="Charlotte Derksen" userId="c809a752-6182-4d31-af0a-c8ef6f12b0b6" providerId="ADAL" clId="{076FE20D-69AB-4825-B600-A6D382B193A8}" dt="2023-06-07T09:28:51.526" v="7" actId="478"/>
          <ac:spMkLst>
            <pc:docMk/>
            <pc:sldMk cId="1491204984" sldId="318"/>
            <ac:spMk id="4" creationId="{EE69BC6E-5C89-298D-5886-9C6DEA430C64}"/>
          </ac:spMkLst>
        </pc:spChg>
        <pc:spChg chg="add mod">
          <ac:chgData name="Charlotte Derksen" userId="c809a752-6182-4d31-af0a-c8ef6f12b0b6" providerId="ADAL" clId="{076FE20D-69AB-4825-B600-A6D382B193A8}" dt="2023-06-07T09:31:46.484" v="39"/>
          <ac:spMkLst>
            <pc:docMk/>
            <pc:sldMk cId="1491204984" sldId="318"/>
            <ac:spMk id="5" creationId="{428862CC-554A-5D99-BB84-C8C3EA6B3778}"/>
          </ac:spMkLst>
        </pc:spChg>
        <pc:spChg chg="add mod">
          <ac:chgData name="Charlotte Derksen" userId="c809a752-6182-4d31-af0a-c8ef6f12b0b6" providerId="ADAL" clId="{076FE20D-69AB-4825-B600-A6D382B193A8}" dt="2023-06-07T16:03:04.645" v="719" actId="14100"/>
          <ac:spMkLst>
            <pc:docMk/>
            <pc:sldMk cId="1491204984" sldId="318"/>
            <ac:spMk id="6" creationId="{87DEE385-C2BB-5655-FE35-2A2AAAF31887}"/>
          </ac:spMkLst>
        </pc:spChg>
      </pc:sldChg>
      <pc:sldChg chg="new del">
        <pc:chgData name="Charlotte Derksen" userId="c809a752-6182-4d31-af0a-c8ef6f12b0b6" providerId="ADAL" clId="{076FE20D-69AB-4825-B600-A6D382B193A8}" dt="2023-06-07T09:32:01.115" v="42" actId="47"/>
        <pc:sldMkLst>
          <pc:docMk/>
          <pc:sldMk cId="3655522181" sldId="340"/>
        </pc:sldMkLst>
      </pc:sldChg>
      <pc:sldChg chg="addSp modSp new del mod ord">
        <pc:chgData name="Charlotte Derksen" userId="c809a752-6182-4d31-af0a-c8ef6f12b0b6" providerId="ADAL" clId="{076FE20D-69AB-4825-B600-A6D382B193A8}" dt="2023-06-07T16:00:42.821" v="351" actId="47"/>
        <pc:sldMkLst>
          <pc:docMk/>
          <pc:sldMk cId="967898478" sldId="341"/>
        </pc:sldMkLst>
        <pc:spChg chg="add mod">
          <ac:chgData name="Charlotte Derksen" userId="c809a752-6182-4d31-af0a-c8ef6f12b0b6" providerId="ADAL" clId="{076FE20D-69AB-4825-B600-A6D382B193A8}" dt="2023-06-07T15:58:36.309" v="92" actId="20577"/>
          <ac:spMkLst>
            <pc:docMk/>
            <pc:sldMk cId="967898478" sldId="341"/>
            <ac:spMk id="2" creationId="{243FE676-CA15-6856-BFD2-B6963ED312CD}"/>
          </ac:spMkLst>
        </pc:spChg>
      </pc:sldChg>
      <pc:sldChg chg="modSp new del mod">
        <pc:chgData name="Charlotte Derksen" userId="c809a752-6182-4d31-af0a-c8ef6f12b0b6" providerId="ADAL" clId="{076FE20D-69AB-4825-B600-A6D382B193A8}" dt="2023-06-07T09:31:49.238" v="40" actId="47"/>
        <pc:sldMkLst>
          <pc:docMk/>
          <pc:sldMk cId="19616694" sldId="342"/>
        </pc:sldMkLst>
        <pc:spChg chg="mod">
          <ac:chgData name="Charlotte Derksen" userId="c809a752-6182-4d31-af0a-c8ef6f12b0b6" providerId="ADAL" clId="{076FE20D-69AB-4825-B600-A6D382B193A8}" dt="2023-06-07T09:30:06.083" v="24" actId="20577"/>
          <ac:spMkLst>
            <pc:docMk/>
            <pc:sldMk cId="19616694" sldId="342"/>
            <ac:spMk id="2" creationId="{54BBBE10-46EC-AF5B-E465-7DF718FD1B91}"/>
          </ac:spMkLst>
        </pc:spChg>
        <pc:spChg chg="mod">
          <ac:chgData name="Charlotte Derksen" userId="c809a752-6182-4d31-af0a-c8ef6f12b0b6" providerId="ADAL" clId="{076FE20D-69AB-4825-B600-A6D382B193A8}" dt="2023-06-07T09:31:37.384" v="38" actId="11"/>
          <ac:spMkLst>
            <pc:docMk/>
            <pc:sldMk cId="19616694" sldId="342"/>
            <ac:spMk id="3" creationId="{3C21D4C0-D68A-F3F5-E21F-80DC0321E0D1}"/>
          </ac:spMkLst>
        </pc:spChg>
        <pc:spChg chg="mod">
          <ac:chgData name="Charlotte Derksen" userId="c809a752-6182-4d31-af0a-c8ef6f12b0b6" providerId="ADAL" clId="{076FE20D-69AB-4825-B600-A6D382B193A8}" dt="2023-06-07T09:29:55.552" v="9" actId="27636"/>
          <ac:spMkLst>
            <pc:docMk/>
            <pc:sldMk cId="19616694" sldId="342"/>
            <ac:spMk id="6" creationId="{8F2C2662-E7F2-9C02-4188-C470B8F87DFE}"/>
          </ac:spMkLst>
        </pc:spChg>
      </pc:sldChg>
      <pc:sldChg chg="addSp delSp modSp new mod">
        <pc:chgData name="Charlotte Derksen" userId="c809a752-6182-4d31-af0a-c8ef6f12b0b6" providerId="ADAL" clId="{076FE20D-69AB-4825-B600-A6D382B193A8}" dt="2023-06-07T16:02:53.335" v="713" actId="403"/>
        <pc:sldMkLst>
          <pc:docMk/>
          <pc:sldMk cId="2775329525" sldId="342"/>
        </pc:sldMkLst>
        <pc:spChg chg="mod">
          <ac:chgData name="Charlotte Derksen" userId="c809a752-6182-4d31-af0a-c8ef6f12b0b6" providerId="ADAL" clId="{076FE20D-69AB-4825-B600-A6D382B193A8}" dt="2023-06-07T09:35:48.977" v="83" actId="20577"/>
          <ac:spMkLst>
            <pc:docMk/>
            <pc:sldMk cId="2775329525" sldId="342"/>
            <ac:spMk id="2" creationId="{2FD899C6-7712-79EF-F98C-FA83FA23D9C5}"/>
          </ac:spMkLst>
        </pc:spChg>
        <pc:spChg chg="mod">
          <ac:chgData name="Charlotte Derksen" userId="c809a752-6182-4d31-af0a-c8ef6f12b0b6" providerId="ADAL" clId="{076FE20D-69AB-4825-B600-A6D382B193A8}" dt="2023-06-07T16:02:53.335" v="713" actId="403"/>
          <ac:spMkLst>
            <pc:docMk/>
            <pc:sldMk cId="2775329525" sldId="342"/>
            <ac:spMk id="3" creationId="{2C98D9A6-A69B-7873-D567-AC34B0DE80A2}"/>
          </ac:spMkLst>
        </pc:spChg>
        <pc:spChg chg="del">
          <ac:chgData name="Charlotte Derksen" userId="c809a752-6182-4d31-af0a-c8ef6f12b0b6" providerId="ADAL" clId="{076FE20D-69AB-4825-B600-A6D382B193A8}" dt="2023-06-07T15:58:26.718" v="86" actId="931"/>
          <ac:spMkLst>
            <pc:docMk/>
            <pc:sldMk cId="2775329525" sldId="342"/>
            <ac:spMk id="4" creationId="{476B7C7C-7903-76DA-BA01-365266C29D9D}"/>
          </ac:spMkLst>
        </pc:spChg>
        <pc:spChg chg="del">
          <ac:chgData name="Charlotte Derksen" userId="c809a752-6182-4d31-af0a-c8ef6f12b0b6" providerId="ADAL" clId="{076FE20D-69AB-4825-B600-A6D382B193A8}" dt="2023-06-07T15:58:29.952" v="87" actId="931"/>
          <ac:spMkLst>
            <pc:docMk/>
            <pc:sldMk cId="2775329525" sldId="342"/>
            <ac:spMk id="5" creationId="{11DC8240-BDD1-42A0-EA1E-B3D816717F3E}"/>
          </ac:spMkLst>
        </pc:spChg>
        <pc:spChg chg="mod">
          <ac:chgData name="Charlotte Derksen" userId="c809a752-6182-4d31-af0a-c8ef6f12b0b6" providerId="ADAL" clId="{076FE20D-69AB-4825-B600-A6D382B193A8}" dt="2023-06-07T09:38:21.723" v="85" actId="27636"/>
          <ac:spMkLst>
            <pc:docMk/>
            <pc:sldMk cId="2775329525" sldId="342"/>
            <ac:spMk id="6" creationId="{69107CD2-4E88-525C-16C3-08D85F3ECAE8}"/>
          </ac:spMkLst>
        </pc:spChg>
        <pc:picChg chg="add mod">
          <ac:chgData name="Charlotte Derksen" userId="c809a752-6182-4d31-af0a-c8ef6f12b0b6" providerId="ADAL" clId="{076FE20D-69AB-4825-B600-A6D382B193A8}" dt="2023-06-07T15:58:30.348" v="88" actId="27614"/>
          <ac:picMkLst>
            <pc:docMk/>
            <pc:sldMk cId="2775329525" sldId="342"/>
            <ac:picMk id="8" creationId="{BBCA2A56-8F1C-F2F0-9CD9-4BB462FC9BAB}"/>
          </ac:picMkLst>
        </pc:picChg>
        <pc:picChg chg="add mod">
          <ac:chgData name="Charlotte Derksen" userId="c809a752-6182-4d31-af0a-c8ef6f12b0b6" providerId="ADAL" clId="{076FE20D-69AB-4825-B600-A6D382B193A8}" dt="2023-06-07T15:58:30.581" v="91" actId="962"/>
          <ac:picMkLst>
            <pc:docMk/>
            <pc:sldMk cId="2775329525" sldId="342"/>
            <ac:picMk id="10" creationId="{0A066F25-F13B-1B2E-AD34-C44848B7F476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433D74-AA69-412B-B2B7-40B59910D271}" type="datetimeFigureOut">
              <a:rPr lang="nl-NL" smtClean="0"/>
              <a:t>8-6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BC084A-F8E0-4163-A11D-D2FFB85F9548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49129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A33FEF1-1D15-4C39-8296-36B1CE2CFC4A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Helvetica Neue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4555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43186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www.linkedin.com/company/squarewise/" TargetMode="External"/><Relationship Id="rId5" Type="http://schemas.openxmlformats.org/officeDocument/2006/relationships/hyperlink" Target="https://twitter.com/Squarewise" TargetMode="External"/><Relationship Id="rId4" Type="http://schemas.openxmlformats.org/officeDocument/2006/relationships/hyperlink" Target="https://www.facebook.com/Squarewise-129364747093817/" TargetMode="Externa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hyperlink" Target="https://twitter.com/Squarewise" TargetMode="External"/><Relationship Id="rId2" Type="http://schemas.openxmlformats.org/officeDocument/2006/relationships/hyperlink" Target="https://www.facebook.com/Squarewise-129364747093817/" TargetMode="External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www.linkedin.com/company/squarewise/" TargetMode="Externa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5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4.jp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 Cyaa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n datum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29868" y="5316910"/>
            <a:ext cx="9866377" cy="356616"/>
          </a:xfrm>
          <a:prstGeom prst="rect">
            <a:avLst/>
          </a:prstGeom>
        </p:spPr>
        <p:txBody>
          <a:bodyPr lIns="216000" tIns="45719" rIns="45719" bIns="45719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000" b="0">
                <a:latin typeface="+mn-lt"/>
              </a:defRPr>
            </a:lvl1pPr>
          </a:lstStyle>
          <a:p>
            <a:r>
              <a:rPr lang="nl-NL" dirty="0"/>
              <a:t>Auteurs</a:t>
            </a:r>
            <a:endParaRPr dirty="0"/>
          </a:p>
        </p:txBody>
      </p:sp>
      <p:sp>
        <p:nvSpPr>
          <p:cNvPr id="12" name="Naam presentatie"/>
          <p:cNvSpPr txBox="1">
            <a:spLocks noGrp="1"/>
          </p:cNvSpPr>
          <p:nvPr>
            <p:ph type="title" hasCustomPrompt="1"/>
          </p:nvPr>
        </p:nvSpPr>
        <p:spPr>
          <a:xfrm>
            <a:off x="1252728" y="3314700"/>
            <a:ext cx="9866377" cy="758953"/>
          </a:xfrm>
          <a:prstGeom prst="rect">
            <a:avLst/>
          </a:prstGeom>
        </p:spPr>
        <p:txBody>
          <a:bodyPr lIns="144000" anchor="t">
            <a:noAutofit/>
          </a:bodyPr>
          <a:lstStyle>
            <a:lvl1pPr>
              <a:defRPr sz="6000" b="0" spc="0" baseline="0">
                <a:latin typeface="+mj-lt"/>
              </a:defRPr>
            </a:lvl1pPr>
          </a:lstStyle>
          <a:p>
            <a:r>
              <a:rPr lang="nl-NL" dirty="0"/>
              <a:t>Titel</a:t>
            </a:r>
            <a:endParaRPr dirty="0"/>
          </a:p>
        </p:txBody>
      </p:sp>
      <p:sp>
        <p:nvSpPr>
          <p:cNvPr id="13" name="Hoofdtekst - niveau é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48156" y="1284732"/>
            <a:ext cx="9870949" cy="2029968"/>
          </a:xfrm>
          <a:prstGeom prst="rect">
            <a:avLst/>
          </a:prstGeom>
        </p:spPr>
        <p:txBody>
          <a:bodyPr lIns="108000" bIns="0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6100" b="0" spc="55" baseline="0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nl-NL" dirty="0"/>
              <a:t>Subtitel</a:t>
            </a:r>
            <a:endParaRPr dirty="0"/>
          </a:p>
        </p:txBody>
      </p:sp>
      <p:sp>
        <p:nvSpPr>
          <p:cNvPr id="9" name="Tijdelijke aanduiding voor datum 4">
            <a:extLst>
              <a:ext uri="{FF2B5EF4-FFF2-40B4-BE49-F238E27FC236}">
                <a16:creationId xmlns:a16="http://schemas.microsoft.com/office/drawing/2014/main" id="{1AB02A12-0190-465E-B00A-B91F85BC46FC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229868" y="5683940"/>
            <a:ext cx="9866376" cy="365125"/>
          </a:xfrm>
          <a:prstGeom prst="rect">
            <a:avLst/>
          </a:prstGeom>
        </p:spPr>
        <p:txBody>
          <a:bodyPr vert="horz" lIns="180000" tIns="45720" rIns="91440" bIns="45720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B150532B-FCF9-426A-ADF2-F182BD70000C}" type="datetime4">
              <a:rPr lang="nl-NL" smtClean="0"/>
              <a:t>8 juni 2023</a:t>
            </a:fld>
            <a:endParaRPr lang="nl-NL" dirty="0"/>
          </a:p>
        </p:txBody>
      </p:sp>
      <p:sp>
        <p:nvSpPr>
          <p:cNvPr id="10" name="Dianummer">
            <a:extLst>
              <a:ext uri="{FF2B5EF4-FFF2-40B4-BE49-F238E27FC236}">
                <a16:creationId xmlns:a16="http://schemas.microsoft.com/office/drawing/2014/main" id="{869DACE5-1BFD-404D-92ED-AAFC9B1C2565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588750" y="6823285"/>
            <a:ext cx="405638" cy="27186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r" defTabSz="292100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tx1"/>
                </a:solidFill>
                <a:latin typeface="+mn-lt"/>
                <a:ea typeface="Source Sans Pro" panose="020B0503030403020204" pitchFamily="34" charset="0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85821A6-7AE3-439E-9FC3-83888A0A15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5" y="206685"/>
            <a:ext cx="1082626" cy="1082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119806"/>
      </p:ext>
    </p:extLst>
  </p:cSld>
  <p:clrMapOvr>
    <a:masterClrMapping/>
  </p:clrMapOvr>
  <p:transition spd="med"/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 2 afbeeldingen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239672" cy="762136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29" y="2376106"/>
            <a:ext cx="5239671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1" name="Tijdelijke aanduiding voor afbeelding 4">
            <a:extLst>
              <a:ext uri="{FF2B5EF4-FFF2-40B4-BE49-F238E27FC236}">
                <a16:creationId xmlns:a16="http://schemas.microsoft.com/office/drawing/2014/main" id="{4FFCA041-E12E-4B09-B3E8-7ECFF91B0DE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869680" y="228229"/>
            <a:ext cx="3090672" cy="3049895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4F208E46-924A-4483-8EDF-F08E9EC49C3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947916" y="3579876"/>
            <a:ext cx="3090672" cy="3049895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9" name="Tijdelijke aanduiding voor tekst 7">
            <a:extLst>
              <a:ext uri="{FF2B5EF4-FFF2-40B4-BE49-F238E27FC236}">
                <a16:creationId xmlns:a16="http://schemas.microsoft.com/office/drawing/2014/main" id="{BAEC3846-1744-47AC-A35E-1833017415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5239544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0" name="Tijdelijke aanduiding voor datum 4">
            <a:extLst>
              <a:ext uri="{FF2B5EF4-FFF2-40B4-BE49-F238E27FC236}">
                <a16:creationId xmlns:a16="http://schemas.microsoft.com/office/drawing/2014/main" id="{27528214-10C9-4A7F-9816-711F3620AE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3903175F-E458-4CFD-BCA2-575C3297C2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407932527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3" pos="1080">
          <p15:clr>
            <a:srgbClr val="FBAE40"/>
          </p15:clr>
        </p15:guide>
        <p15:guide id="4" pos="14597">
          <p15:clr>
            <a:srgbClr val="FBAE40"/>
          </p15:clr>
        </p15:guide>
        <p15:guide id="6" orient="horz" pos="7881">
          <p15:clr>
            <a:srgbClr val="FBAE40"/>
          </p15:clr>
        </p15:guide>
        <p15:guide id="9" orient="horz" pos="538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 2 afbeeldingen rechts cyaa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hoek 14">
            <a:extLst>
              <a:ext uri="{FF2B5EF4-FFF2-40B4-BE49-F238E27FC236}">
                <a16:creationId xmlns:a16="http://schemas.microsoft.com/office/drawing/2014/main" id="{1AFE6671-DDCC-4D25-B9C3-93566D67CECD}"/>
              </a:ext>
            </a:extLst>
          </p:cNvPr>
          <p:cNvSpPr/>
          <p:nvPr userDrawn="1"/>
        </p:nvSpPr>
        <p:spPr>
          <a:xfrm>
            <a:off x="1" y="0"/>
            <a:ext cx="8614094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239672" cy="762136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29" y="2366962"/>
            <a:ext cx="5239671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1" name="Tijdelijke aanduiding voor afbeelding 4">
            <a:extLst>
              <a:ext uri="{FF2B5EF4-FFF2-40B4-BE49-F238E27FC236}">
                <a16:creationId xmlns:a16="http://schemas.microsoft.com/office/drawing/2014/main" id="{4FFCA041-E12E-4B09-B3E8-7ECFF91B0DE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869680" y="228229"/>
            <a:ext cx="3090672" cy="3049895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4F208E46-924A-4483-8EDF-F08E9EC49C3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947916" y="3579876"/>
            <a:ext cx="3090672" cy="3049895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0" name="Tijdelijke aanduiding voor tekst 7">
            <a:extLst>
              <a:ext uri="{FF2B5EF4-FFF2-40B4-BE49-F238E27FC236}">
                <a16:creationId xmlns:a16="http://schemas.microsoft.com/office/drawing/2014/main" id="{209A43BF-418D-4481-899F-0D61310C67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5239544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3" name="Tijdelijke aanduiding voor datum 4">
            <a:extLst>
              <a:ext uri="{FF2B5EF4-FFF2-40B4-BE49-F238E27FC236}">
                <a16:creationId xmlns:a16="http://schemas.microsoft.com/office/drawing/2014/main" id="{C551F10F-E6B2-4282-A824-ED20CD5BE2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523DDB4F-91CF-4C28-8D2A-D609C6C09B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371803127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 2 afbeeldingen rechts lichtgro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239672" cy="762136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29" y="2366962"/>
            <a:ext cx="5239671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1" name="Tijdelijke aanduiding voor afbeelding 4">
            <a:extLst>
              <a:ext uri="{FF2B5EF4-FFF2-40B4-BE49-F238E27FC236}">
                <a16:creationId xmlns:a16="http://schemas.microsoft.com/office/drawing/2014/main" id="{4FFCA041-E12E-4B09-B3E8-7ECFF91B0DE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835904" y="216591"/>
            <a:ext cx="2092444" cy="2064837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4F208E46-924A-4483-8EDF-F08E9EC49C3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41364" y="2286000"/>
            <a:ext cx="3485396" cy="3497580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9" name="Tijdelijke aanduiding voor tekst 7">
            <a:extLst>
              <a:ext uri="{FF2B5EF4-FFF2-40B4-BE49-F238E27FC236}">
                <a16:creationId xmlns:a16="http://schemas.microsoft.com/office/drawing/2014/main" id="{2E1860DC-5412-4C4D-B2D4-ED44DC42790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5239544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0" name="Tijdelijke aanduiding voor datum 4">
            <a:extLst>
              <a:ext uri="{FF2B5EF4-FFF2-40B4-BE49-F238E27FC236}">
                <a16:creationId xmlns:a16="http://schemas.microsoft.com/office/drawing/2014/main" id="{18A88900-5083-4469-BACB-39AF03A23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2AD693C6-6435-4C80-B7B7-67F881A671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402442730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30" y="2366962"/>
            <a:ext cx="5078127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D00AA070-8E7E-443F-BB23-820E2193E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7544" y="2372582"/>
            <a:ext cx="5078127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jdelijke aanduiding voor tekst 7">
            <a:extLst>
              <a:ext uri="{FF2B5EF4-FFF2-40B4-BE49-F238E27FC236}">
                <a16:creationId xmlns:a16="http://schemas.microsoft.com/office/drawing/2014/main" id="{EA214919-DE0B-49A7-9EE0-9B37E1204C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6457" y="810245"/>
            <a:ext cx="10732293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0" name="Tijdelijke aanduiding voor datum 4">
            <a:extLst>
              <a:ext uri="{FF2B5EF4-FFF2-40B4-BE49-F238E27FC236}">
                <a16:creationId xmlns:a16="http://schemas.microsoft.com/office/drawing/2014/main" id="{9372380E-2C80-438F-B8AF-2E39EFF13F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1" name="Tijdelijke aanduiding voor voettekst 4">
            <a:extLst>
              <a:ext uri="{FF2B5EF4-FFF2-40B4-BE49-F238E27FC236}">
                <a16:creationId xmlns:a16="http://schemas.microsoft.com/office/drawing/2014/main" id="{7A4DD4E4-4265-4201-8FDC-AEB949BE38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7651353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 rechts 2 afbeeldingen links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543" y="1258024"/>
            <a:ext cx="533120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D00AA070-8E7E-443F-BB23-820E2193E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7543" y="2366962"/>
            <a:ext cx="5328826" cy="388858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4385EBEF-447C-4B0B-A94B-2F099C8606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8180" y="4183802"/>
            <a:ext cx="1681398" cy="1659215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024C9BB8-ACEE-4675-B42D-CC6AB34CA2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548143" y="949267"/>
            <a:ext cx="3217317" cy="3228564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0" name="Tijdelijke aanduiding voor tekst 7">
            <a:extLst>
              <a:ext uri="{FF2B5EF4-FFF2-40B4-BE49-F238E27FC236}">
                <a16:creationId xmlns:a16="http://schemas.microsoft.com/office/drawing/2014/main" id="{ECEB990E-AD3E-454D-85FA-72821B6894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7543" y="810245"/>
            <a:ext cx="5331207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1" name="Tijdelijke aanduiding voor datum 4">
            <a:extLst>
              <a:ext uri="{FF2B5EF4-FFF2-40B4-BE49-F238E27FC236}">
                <a16:creationId xmlns:a16="http://schemas.microsoft.com/office/drawing/2014/main" id="{8D916041-D335-4F5A-A07F-666D874A11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1853DF79-A72A-4861-AD64-AADB37E8DA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40687439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 rechts 1 afbeelding links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543" y="1258024"/>
            <a:ext cx="533120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D00AA070-8E7E-443F-BB23-820E2193E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7544" y="2366962"/>
            <a:ext cx="5328825" cy="388858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024C9BB8-ACEE-4675-B42D-CC6AB34CA2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69848" y="1215025"/>
            <a:ext cx="4232133" cy="4221083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0" name="Tijdelijke aanduiding voor tekst 7">
            <a:extLst>
              <a:ext uri="{FF2B5EF4-FFF2-40B4-BE49-F238E27FC236}">
                <a16:creationId xmlns:a16="http://schemas.microsoft.com/office/drawing/2014/main" id="{C6DB714F-F21F-4853-AD66-F9D57CDC73C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7544" y="810245"/>
            <a:ext cx="5331207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1" name="Tijdelijke aanduiding voor datum 4">
            <a:extLst>
              <a:ext uri="{FF2B5EF4-FFF2-40B4-BE49-F238E27FC236}">
                <a16:creationId xmlns:a16="http://schemas.microsoft.com/office/drawing/2014/main" id="{02397094-920B-4418-AEEC-408D08524F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2" name="Tijdelijke aanduiding voor voettekst 4">
            <a:extLst>
              <a:ext uri="{FF2B5EF4-FFF2-40B4-BE49-F238E27FC236}">
                <a16:creationId xmlns:a16="http://schemas.microsoft.com/office/drawing/2014/main" id="{7308F9EC-7B3B-4AC6-90B4-3DF92A67AE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2854812483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 1 afbeelding rechts roo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hoek 14">
            <a:extLst>
              <a:ext uri="{FF2B5EF4-FFF2-40B4-BE49-F238E27FC236}">
                <a16:creationId xmlns:a16="http://schemas.microsoft.com/office/drawing/2014/main" id="{68749D24-5044-4DA7-9C0B-4D86AABE55D0}"/>
              </a:ext>
            </a:extLst>
          </p:cNvPr>
          <p:cNvSpPr/>
          <p:nvPr userDrawn="1"/>
        </p:nvSpPr>
        <p:spPr>
          <a:xfrm>
            <a:off x="1" y="0"/>
            <a:ext cx="8614094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07812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30" y="2366962"/>
            <a:ext cx="5078127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DC289140-C3A7-4261-9C03-4C54F9CC75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93992" y="1215025"/>
            <a:ext cx="4232133" cy="4221083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9" name="Tijdelijke aanduiding voor tekst 7">
            <a:extLst>
              <a:ext uri="{FF2B5EF4-FFF2-40B4-BE49-F238E27FC236}">
                <a16:creationId xmlns:a16="http://schemas.microsoft.com/office/drawing/2014/main" id="{552846D4-43FF-43E8-BC44-A74650F8A2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10732294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1" name="Tijdelijke aanduiding voor datum 4">
            <a:extLst>
              <a:ext uri="{FF2B5EF4-FFF2-40B4-BE49-F238E27FC236}">
                <a16:creationId xmlns:a16="http://schemas.microsoft.com/office/drawing/2014/main" id="{EAD5FDF8-7BFF-427F-9C79-0306F5B89C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C085BB42-DA21-46B2-8E70-20F5F5B120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86512301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" pos="14597">
          <p15:clr>
            <a:srgbClr val="FBAE40"/>
          </p15:clr>
        </p15:guide>
        <p15:guide id="9" orient="horz" pos="538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 1 afbeelding rechts gee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63031E1F-051E-4BD6-AAE0-F84D88C20ADF}"/>
              </a:ext>
            </a:extLst>
          </p:cNvPr>
          <p:cNvSpPr/>
          <p:nvPr userDrawn="1"/>
        </p:nvSpPr>
        <p:spPr>
          <a:xfrm>
            <a:off x="1" y="0"/>
            <a:ext cx="8614094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07812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30" y="2366962"/>
            <a:ext cx="5078127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DC289140-C3A7-4261-9C03-4C54F9CC75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93992" y="1215025"/>
            <a:ext cx="4232133" cy="4221083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9" name="Tijdelijke aanduiding voor tekst 7">
            <a:extLst>
              <a:ext uri="{FF2B5EF4-FFF2-40B4-BE49-F238E27FC236}">
                <a16:creationId xmlns:a16="http://schemas.microsoft.com/office/drawing/2014/main" id="{552846D4-43FF-43E8-BC44-A74650F8A2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10732294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1" name="Tijdelijke aanduiding voor datum 4">
            <a:extLst>
              <a:ext uri="{FF2B5EF4-FFF2-40B4-BE49-F238E27FC236}">
                <a16:creationId xmlns:a16="http://schemas.microsoft.com/office/drawing/2014/main" id="{EAD5FDF8-7BFF-427F-9C79-0306F5B89C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C085BB42-DA21-46B2-8E70-20F5F5B120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398759037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" pos="14597">
          <p15:clr>
            <a:srgbClr val="FBAE40"/>
          </p15:clr>
        </p15:guide>
        <p15:guide id="9" orient="horz" pos="538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 1 afbeelding rechts cyaa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D28C67C1-5CA6-4817-AFD1-3CA136E248D2}"/>
              </a:ext>
            </a:extLst>
          </p:cNvPr>
          <p:cNvSpPr/>
          <p:nvPr userDrawn="1"/>
        </p:nvSpPr>
        <p:spPr>
          <a:xfrm>
            <a:off x="1" y="0"/>
            <a:ext cx="8614094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07812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30" y="2366962"/>
            <a:ext cx="5078127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DC289140-C3A7-4261-9C03-4C54F9CC75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93992" y="1215025"/>
            <a:ext cx="4232133" cy="4221083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9" name="Tijdelijke aanduiding voor tekst 7">
            <a:extLst>
              <a:ext uri="{FF2B5EF4-FFF2-40B4-BE49-F238E27FC236}">
                <a16:creationId xmlns:a16="http://schemas.microsoft.com/office/drawing/2014/main" id="{552846D4-43FF-43E8-BC44-A74650F8A23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10732294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1" name="Tijdelijke aanduiding voor datum 4">
            <a:extLst>
              <a:ext uri="{FF2B5EF4-FFF2-40B4-BE49-F238E27FC236}">
                <a16:creationId xmlns:a16="http://schemas.microsoft.com/office/drawing/2014/main" id="{EAD5FDF8-7BFF-427F-9C79-0306F5B89C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C085BB42-DA21-46B2-8E70-20F5F5B120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181518468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4" pos="14597">
          <p15:clr>
            <a:srgbClr val="FBAE40"/>
          </p15:clr>
        </p15:guide>
        <p15:guide id="9" orient="horz" pos="538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 geel, 1 afbeelding recht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hoek 15">
            <a:extLst>
              <a:ext uri="{FF2B5EF4-FFF2-40B4-BE49-F238E27FC236}">
                <a16:creationId xmlns:a16="http://schemas.microsoft.com/office/drawing/2014/main" id="{BEE4DE9D-2949-44A7-BA89-E512C3235D93}"/>
              </a:ext>
            </a:extLst>
          </p:cNvPr>
          <p:cNvSpPr/>
          <p:nvPr userDrawn="1"/>
        </p:nvSpPr>
        <p:spPr>
          <a:xfrm>
            <a:off x="6083772" y="0"/>
            <a:ext cx="6108229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07812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30" y="2366962"/>
            <a:ext cx="5078127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2" name="Tijdelijke aanduiding voor afbeelding 4">
            <a:extLst>
              <a:ext uri="{FF2B5EF4-FFF2-40B4-BE49-F238E27FC236}">
                <a16:creationId xmlns:a16="http://schemas.microsoft.com/office/drawing/2014/main" id="{DC289140-C3A7-4261-9C03-4C54F9CC755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793992" y="1215025"/>
            <a:ext cx="4232133" cy="4221083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pic>
        <p:nvPicPr>
          <p:cNvPr id="11" name="Afbeelding" descr="Afbeelding">
            <a:extLst>
              <a:ext uri="{FF2B5EF4-FFF2-40B4-BE49-F238E27FC236}">
                <a16:creationId xmlns:a16="http://schemas.microsoft.com/office/drawing/2014/main" id="{961EF638-B020-4D3F-B7EA-93820D45B39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3855" y="192093"/>
            <a:ext cx="642475" cy="292101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ijdelijke aanduiding voor tekst 7">
            <a:extLst>
              <a:ext uri="{FF2B5EF4-FFF2-40B4-BE49-F238E27FC236}">
                <a16:creationId xmlns:a16="http://schemas.microsoft.com/office/drawing/2014/main" id="{89086446-BF90-456A-8666-C211D341A0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5078000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3" name="Tijdelijke aanduiding voor datum 4">
            <a:extLst>
              <a:ext uri="{FF2B5EF4-FFF2-40B4-BE49-F238E27FC236}">
                <a16:creationId xmlns:a16="http://schemas.microsoft.com/office/drawing/2014/main" id="{8B1CC7E5-4EDD-403C-B117-EF85D9C625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CA93DB7F-CD07-4C30-90CE-8688E419B3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32703763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21D4BC0-A99C-463A-9D49-27C8B706B97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 sz="1100"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A82F18C-1101-4C59-B9BF-D88641580BF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29" y="2366963"/>
            <a:ext cx="10732421" cy="389255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E61050DC-E596-4700-B3FC-F5C028A945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10732294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</p:spTree>
    <p:extLst>
      <p:ext uri="{BB962C8B-B14F-4D97-AF65-F5344CB8AC3E}">
        <p14:creationId xmlns:p14="http://schemas.microsoft.com/office/powerpoint/2010/main" val="408326859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9" orient="horz" pos="538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1 afbeelding links gee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hoek 15">
            <a:extLst>
              <a:ext uri="{FF2B5EF4-FFF2-40B4-BE49-F238E27FC236}">
                <a16:creationId xmlns:a16="http://schemas.microsoft.com/office/drawing/2014/main" id="{3D1BF936-A574-4820-B207-C9DC0BB7F609}"/>
              </a:ext>
            </a:extLst>
          </p:cNvPr>
          <p:cNvSpPr/>
          <p:nvPr userDrawn="1"/>
        </p:nvSpPr>
        <p:spPr>
          <a:xfrm>
            <a:off x="2942845" y="0"/>
            <a:ext cx="9249156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543" y="1258024"/>
            <a:ext cx="533120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D00AA070-8E7E-443F-BB23-820E2193E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7543" y="2366962"/>
            <a:ext cx="5328826" cy="388858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024C9BB8-ACEE-4675-B42D-CC6AB34CA2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69848" y="1215025"/>
            <a:ext cx="4232133" cy="4221083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pic>
        <p:nvPicPr>
          <p:cNvPr id="10" name="Afbeelding" descr="Afbeelding">
            <a:extLst>
              <a:ext uri="{FF2B5EF4-FFF2-40B4-BE49-F238E27FC236}">
                <a16:creationId xmlns:a16="http://schemas.microsoft.com/office/drawing/2014/main" id="{CFBBE631-CDAB-4364-A02F-19F210575B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3855" y="192093"/>
            <a:ext cx="642475" cy="292101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jdelijke aanduiding voor tekst 7">
            <a:extLst>
              <a:ext uri="{FF2B5EF4-FFF2-40B4-BE49-F238E27FC236}">
                <a16:creationId xmlns:a16="http://schemas.microsoft.com/office/drawing/2014/main" id="{F0E98F38-9A1E-48E9-9C00-C7A3D6EC5C1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7544" y="810245"/>
            <a:ext cx="5331207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2" name="Tijdelijke aanduiding voor datum 4">
            <a:extLst>
              <a:ext uri="{FF2B5EF4-FFF2-40B4-BE49-F238E27FC236}">
                <a16:creationId xmlns:a16="http://schemas.microsoft.com/office/drawing/2014/main" id="{0D018771-ECE0-48DF-A0E8-68E7B0D92E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64E8777F-AC36-43C7-91B6-78E41D5B31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374702479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1 afbeelding links roo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hoek 15">
            <a:extLst>
              <a:ext uri="{FF2B5EF4-FFF2-40B4-BE49-F238E27FC236}">
                <a16:creationId xmlns:a16="http://schemas.microsoft.com/office/drawing/2014/main" id="{D1B1104E-19A9-4829-9881-278FD3254951}"/>
              </a:ext>
            </a:extLst>
          </p:cNvPr>
          <p:cNvSpPr/>
          <p:nvPr userDrawn="1"/>
        </p:nvSpPr>
        <p:spPr>
          <a:xfrm>
            <a:off x="2942845" y="0"/>
            <a:ext cx="9249156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543" y="1258024"/>
            <a:ext cx="533120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D00AA070-8E7E-443F-BB23-820E2193E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7543" y="2366962"/>
            <a:ext cx="5328826" cy="388858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024C9BB8-ACEE-4675-B42D-CC6AB34CA2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69848" y="1215025"/>
            <a:ext cx="4232133" cy="4221083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pic>
        <p:nvPicPr>
          <p:cNvPr id="10" name="Afbeelding" descr="Afbeelding">
            <a:extLst>
              <a:ext uri="{FF2B5EF4-FFF2-40B4-BE49-F238E27FC236}">
                <a16:creationId xmlns:a16="http://schemas.microsoft.com/office/drawing/2014/main" id="{CFBBE631-CDAB-4364-A02F-19F210575B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3855" y="192093"/>
            <a:ext cx="642475" cy="292101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jdelijke aanduiding voor tekst 7">
            <a:extLst>
              <a:ext uri="{FF2B5EF4-FFF2-40B4-BE49-F238E27FC236}">
                <a16:creationId xmlns:a16="http://schemas.microsoft.com/office/drawing/2014/main" id="{F0E98F38-9A1E-48E9-9C00-C7A3D6EC5C1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7544" y="810245"/>
            <a:ext cx="5331207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2" name="Tijdelijke aanduiding voor datum 4">
            <a:extLst>
              <a:ext uri="{FF2B5EF4-FFF2-40B4-BE49-F238E27FC236}">
                <a16:creationId xmlns:a16="http://schemas.microsoft.com/office/drawing/2014/main" id="{0D018771-ECE0-48DF-A0E8-68E7B0D92E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64E8777F-AC36-43C7-91B6-78E41D5B31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275236462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rechts 1 afbeelding links cyaa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hoek 15">
            <a:extLst>
              <a:ext uri="{FF2B5EF4-FFF2-40B4-BE49-F238E27FC236}">
                <a16:creationId xmlns:a16="http://schemas.microsoft.com/office/drawing/2014/main" id="{DE0917C4-86DD-4129-A454-C1BE2AF68024}"/>
              </a:ext>
            </a:extLst>
          </p:cNvPr>
          <p:cNvSpPr/>
          <p:nvPr userDrawn="1"/>
        </p:nvSpPr>
        <p:spPr>
          <a:xfrm>
            <a:off x="2942845" y="0"/>
            <a:ext cx="9249156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7543" y="1258024"/>
            <a:ext cx="533120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inhoud 6">
            <a:extLst>
              <a:ext uri="{FF2B5EF4-FFF2-40B4-BE49-F238E27FC236}">
                <a16:creationId xmlns:a16="http://schemas.microsoft.com/office/drawing/2014/main" id="{D00AA070-8E7E-443F-BB23-820E2193EA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7543" y="2366962"/>
            <a:ext cx="5328826" cy="388858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024C9BB8-ACEE-4675-B42D-CC6AB34CA28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069848" y="1215025"/>
            <a:ext cx="4232133" cy="4221083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pic>
        <p:nvPicPr>
          <p:cNvPr id="10" name="Afbeelding" descr="Afbeelding">
            <a:extLst>
              <a:ext uri="{FF2B5EF4-FFF2-40B4-BE49-F238E27FC236}">
                <a16:creationId xmlns:a16="http://schemas.microsoft.com/office/drawing/2014/main" id="{CFBBE631-CDAB-4364-A02F-19F210575B1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3855" y="192093"/>
            <a:ext cx="642475" cy="292101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Tijdelijke aanduiding voor tekst 7">
            <a:extLst>
              <a:ext uri="{FF2B5EF4-FFF2-40B4-BE49-F238E27FC236}">
                <a16:creationId xmlns:a16="http://schemas.microsoft.com/office/drawing/2014/main" id="{F0E98F38-9A1E-48E9-9C00-C7A3D6EC5C1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57544" y="810245"/>
            <a:ext cx="5331207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2" name="Tijdelijke aanduiding voor datum 4">
            <a:extLst>
              <a:ext uri="{FF2B5EF4-FFF2-40B4-BE49-F238E27FC236}">
                <a16:creationId xmlns:a16="http://schemas.microsoft.com/office/drawing/2014/main" id="{0D018771-ECE0-48DF-A0E8-68E7B0D92E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64E8777F-AC36-43C7-91B6-78E41D5B31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2065276710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met afbeelding"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F998D516-64AD-45CC-9EB0-E40AF9471A32}"/>
              </a:ext>
            </a:extLst>
          </p:cNvPr>
          <p:cNvSpPr/>
          <p:nvPr userDrawn="1"/>
        </p:nvSpPr>
        <p:spPr>
          <a:xfrm>
            <a:off x="0" y="3280242"/>
            <a:ext cx="12192000" cy="297517"/>
          </a:xfrm>
          <a:prstGeom prst="rect">
            <a:avLst/>
          </a:prstGeom>
          <a:solidFill>
            <a:schemeClr val="tx1">
              <a:alpha val="20000"/>
            </a:schemeClr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Auteur en datum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3183732" y="4357216"/>
            <a:ext cx="6047137" cy="379693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defRPr>
            </a:lvl1pPr>
          </a:lstStyle>
          <a:p>
            <a:r>
              <a:rPr dirty="0"/>
              <a:t>Auteur</a:t>
            </a:r>
          </a:p>
        </p:txBody>
      </p:sp>
      <p:sp>
        <p:nvSpPr>
          <p:cNvPr id="25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11588750" y="6888141"/>
            <a:ext cx="405638" cy="2718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3" name="Rechthoek: afgeronde diagonale hoeken 2">
            <a:extLst>
              <a:ext uri="{FF2B5EF4-FFF2-40B4-BE49-F238E27FC236}">
                <a16:creationId xmlns:a16="http://schemas.microsoft.com/office/drawing/2014/main" id="{383CEB31-EC20-4C54-BB29-D7D3E194A55C}"/>
              </a:ext>
            </a:extLst>
          </p:cNvPr>
          <p:cNvSpPr/>
          <p:nvPr userDrawn="1"/>
        </p:nvSpPr>
        <p:spPr>
          <a:xfrm>
            <a:off x="3000311" y="3229888"/>
            <a:ext cx="6300000" cy="398224"/>
          </a:xfrm>
          <a:prstGeom prst="round2DiagRect">
            <a:avLst>
              <a:gd name="adj1" fmla="val 44233"/>
              <a:gd name="adj2" fmla="val 0"/>
            </a:avLst>
          </a:prstGeom>
          <a:noFill/>
          <a:ln w="19050" cap="flat">
            <a:solidFill>
              <a:schemeClr val="bg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F2D46886-EF97-46E3-AE72-D2353D6FD9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1365" y="192996"/>
            <a:ext cx="645208" cy="29362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/>
            </a:lvl1pPr>
            <a:lvl5pPr>
              <a:defRPr/>
            </a:lvl5pPr>
          </a:lstStyle>
          <a:p>
            <a:pPr lvl="0"/>
            <a:r>
              <a:rPr lang="nl-NL" dirty="0"/>
              <a:t> </a:t>
            </a:r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B13AD5A5-3AF4-4199-BC0A-812EC8CE8BC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83732" y="1921669"/>
            <a:ext cx="6046788" cy="2356416"/>
          </a:xfrm>
        </p:spPr>
        <p:txBody>
          <a:bodyPr lIns="144000" tIns="144000" rIns="144000" bIns="144000" anchor="b">
            <a:noAutofit/>
          </a:bodyPr>
          <a:lstStyle>
            <a:lvl1pPr algn="ctr">
              <a:lnSpc>
                <a:spcPct val="100000"/>
              </a:lnSpc>
              <a:defRPr sz="3600" i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  <a:lvl2pPr algn="ctr">
              <a:defRPr sz="3600">
                <a:latin typeface="+mj-lt"/>
              </a:defRPr>
            </a:lvl2pPr>
            <a:lvl3pPr algn="ctr">
              <a:defRPr sz="3600">
                <a:latin typeface="+mj-lt"/>
              </a:defRPr>
            </a:lvl3pPr>
            <a:lvl4pPr algn="ctr">
              <a:defRPr sz="3600">
                <a:latin typeface="+mj-lt"/>
              </a:defRPr>
            </a:lvl4pPr>
            <a:lvl5pPr algn="ctr">
              <a:defRPr sz="3600">
                <a:latin typeface="+mj-lt"/>
              </a:defRPr>
            </a:lvl5pPr>
          </a:lstStyle>
          <a:p>
            <a:pPr lvl="0"/>
            <a:r>
              <a:rPr lang="nl-NL" dirty="0"/>
              <a:t>“Het is tijd voor een gezonde leefwereld; </a:t>
            </a:r>
            <a:r>
              <a:rPr lang="nl-NL" dirty="0" err="1"/>
              <a:t>egovrij</a:t>
            </a:r>
            <a:r>
              <a:rPr lang="nl-NL" dirty="0"/>
              <a:t> en </a:t>
            </a:r>
            <a:r>
              <a:rPr lang="nl-NL" dirty="0" err="1"/>
              <a:t>ecovriendelijk</a:t>
            </a:r>
            <a:r>
              <a:rPr lang="nl-NL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318989406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met licht vlak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eur en datum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3183732" y="4357216"/>
            <a:ext cx="6047137" cy="379693"/>
          </a:xfrm>
          <a:prstGeom prst="rect">
            <a:avLst/>
          </a:prstGeom>
        </p:spPr>
        <p:txBody>
          <a:bodyPr lIns="45719" tIns="45719" rIns="45719" bIns="45719">
            <a:noAutofit/>
          </a:bodyPr>
          <a:lstStyle>
            <a:lvl1pPr marL="0" indent="0" algn="ctr" defTabSz="412750">
              <a:lnSpc>
                <a:spcPct val="100000"/>
              </a:lnSpc>
              <a:spcBef>
                <a:spcPts val="0"/>
              </a:spcBef>
              <a:buSzTx/>
              <a:buNone/>
              <a:defRPr sz="2200" b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r>
              <a:rPr dirty="0"/>
              <a:t>Auteur</a:t>
            </a:r>
          </a:p>
        </p:txBody>
      </p:sp>
      <p:sp>
        <p:nvSpPr>
          <p:cNvPr id="25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11588750" y="6888141"/>
            <a:ext cx="405638" cy="27186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6" name="Tijdelijke aanduiding voor tekst 16">
            <a:extLst>
              <a:ext uri="{FF2B5EF4-FFF2-40B4-BE49-F238E27FC236}">
                <a16:creationId xmlns:a16="http://schemas.microsoft.com/office/drawing/2014/main" id="{C2EA114B-9641-4D6E-95FA-CC5B32E127A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83732" y="1921669"/>
            <a:ext cx="6046788" cy="2356416"/>
          </a:xfrm>
        </p:spPr>
        <p:txBody>
          <a:bodyPr lIns="144000" tIns="144000" rIns="144000" bIns="144000" anchor="b">
            <a:noAutofit/>
          </a:bodyPr>
          <a:lstStyle>
            <a:lvl1pPr algn="ctr">
              <a:lnSpc>
                <a:spcPct val="100000"/>
              </a:lnSpc>
              <a:defRPr sz="3600" i="1">
                <a:solidFill>
                  <a:schemeClr val="tx1"/>
                </a:solidFill>
                <a:effectLst/>
                <a:latin typeface="Source Sans Pro Light" panose="020B0403030403020204" pitchFamily="34" charset="0"/>
                <a:ea typeface="Source Sans Pro Light" panose="020B0403030403020204" pitchFamily="34" charset="0"/>
              </a:defRPr>
            </a:lvl1pPr>
            <a:lvl2pPr algn="ctr">
              <a:defRPr sz="3600">
                <a:latin typeface="+mj-lt"/>
              </a:defRPr>
            </a:lvl2pPr>
            <a:lvl3pPr algn="ctr">
              <a:defRPr sz="3600">
                <a:latin typeface="+mj-lt"/>
              </a:defRPr>
            </a:lvl3pPr>
            <a:lvl4pPr algn="ctr">
              <a:defRPr sz="3600">
                <a:latin typeface="+mj-lt"/>
              </a:defRPr>
            </a:lvl4pPr>
            <a:lvl5pPr algn="ctr">
              <a:defRPr sz="3600">
                <a:latin typeface="+mj-lt"/>
              </a:defRPr>
            </a:lvl5pPr>
          </a:lstStyle>
          <a:p>
            <a:pPr lvl="0"/>
            <a:r>
              <a:rPr lang="nl-NL" dirty="0"/>
              <a:t>“Het is tijd voor een gezonde leefwereld; </a:t>
            </a:r>
            <a:r>
              <a:rPr lang="nl-NL" dirty="0" err="1"/>
              <a:t>egovrij</a:t>
            </a:r>
            <a:r>
              <a:rPr lang="nl-NL" dirty="0"/>
              <a:t> en </a:t>
            </a:r>
            <a:r>
              <a:rPr lang="nl-NL" dirty="0" err="1"/>
              <a:t>ecovriendelijk</a:t>
            </a:r>
            <a:r>
              <a:rPr lang="nl-NL" dirty="0"/>
              <a:t>”</a:t>
            </a:r>
          </a:p>
        </p:txBody>
      </p:sp>
      <p:sp>
        <p:nvSpPr>
          <p:cNvPr id="7" name="Rechthoek: afgeronde diagonale hoeken 6">
            <a:extLst>
              <a:ext uri="{FF2B5EF4-FFF2-40B4-BE49-F238E27FC236}">
                <a16:creationId xmlns:a16="http://schemas.microsoft.com/office/drawing/2014/main" id="{477C304F-D86B-4BEF-950F-091FDF0F53C3}"/>
              </a:ext>
            </a:extLst>
          </p:cNvPr>
          <p:cNvSpPr/>
          <p:nvPr userDrawn="1"/>
        </p:nvSpPr>
        <p:spPr>
          <a:xfrm>
            <a:off x="3000311" y="3229888"/>
            <a:ext cx="6300000" cy="398224"/>
          </a:xfrm>
          <a:prstGeom prst="round2DiagRect">
            <a:avLst>
              <a:gd name="adj1" fmla="val 44233"/>
              <a:gd name="adj2" fmla="val 0"/>
            </a:avLst>
          </a:prstGeom>
          <a:noFill/>
          <a:ln w="19050" cap="flat">
            <a:solidFill>
              <a:schemeClr val="tx1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nl-NL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96603216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, quote rechts roo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>
            <a:extLst>
              <a:ext uri="{FF2B5EF4-FFF2-40B4-BE49-F238E27FC236}">
                <a16:creationId xmlns:a16="http://schemas.microsoft.com/office/drawing/2014/main" id="{551543E8-9224-4D73-A6D9-9A3F4B20E959}"/>
              </a:ext>
            </a:extLst>
          </p:cNvPr>
          <p:cNvSpPr/>
          <p:nvPr userDrawn="1"/>
        </p:nvSpPr>
        <p:spPr>
          <a:xfrm>
            <a:off x="-1" y="0"/>
            <a:ext cx="6097373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07812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30" y="2366962"/>
            <a:ext cx="5078127" cy="388296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0" name="Tijdelijke aanduiding voor tekst 7">
            <a:extLst>
              <a:ext uri="{FF2B5EF4-FFF2-40B4-BE49-F238E27FC236}">
                <a16:creationId xmlns:a16="http://schemas.microsoft.com/office/drawing/2014/main" id="{C20780F3-9874-42E2-9134-8654A0E10E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5078000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2" name="Tijdelijke aanduiding voor datum 4">
            <a:extLst>
              <a:ext uri="{FF2B5EF4-FFF2-40B4-BE49-F238E27FC236}">
                <a16:creationId xmlns:a16="http://schemas.microsoft.com/office/drawing/2014/main" id="{C0AD3576-C793-4DF7-B360-175EEA6056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7B936297-777D-419D-9DA3-7CCD322AF7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A39F3B13-F143-46FD-9AE2-CD0F40B88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0786" y="850107"/>
            <a:ext cx="4826000" cy="5399881"/>
          </a:xfrm>
        </p:spPr>
        <p:txBody>
          <a:bodyPr anchor="ctr"/>
          <a:lstStyle>
            <a:lvl1pPr>
              <a:defRPr kumimoji="0" lang="nl-NL" sz="3300" b="1" i="1" u="none" strike="noStrike" cap="none" spc="-116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Source Sans Pro SemiBold"/>
                <a:sym typeface="Helvetica Neue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47546219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, quote rechts gee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07812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30" y="2366962"/>
            <a:ext cx="5078127" cy="3882962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0" name="Tijdelijke aanduiding voor tekst 7">
            <a:extLst>
              <a:ext uri="{FF2B5EF4-FFF2-40B4-BE49-F238E27FC236}">
                <a16:creationId xmlns:a16="http://schemas.microsoft.com/office/drawing/2014/main" id="{C20780F3-9874-42E2-9134-8654A0E10E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5078000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2" name="Tijdelijke aanduiding voor datum 4">
            <a:extLst>
              <a:ext uri="{FF2B5EF4-FFF2-40B4-BE49-F238E27FC236}">
                <a16:creationId xmlns:a16="http://schemas.microsoft.com/office/drawing/2014/main" id="{C0AD3576-C793-4DF7-B360-175EEA6056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7B936297-777D-419D-9DA3-7CCD322AF7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A39F3B13-F143-46FD-9AE2-CD0F40B88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0786" y="850107"/>
            <a:ext cx="4826000" cy="5399881"/>
          </a:xfrm>
        </p:spPr>
        <p:txBody>
          <a:bodyPr anchor="ctr"/>
          <a:lstStyle>
            <a:lvl1pPr>
              <a:defRPr kumimoji="0" lang="nl-NL" sz="3300" b="1" i="1" u="none" strike="noStrike" cap="none" spc="-116" normalizeH="0" baseline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Source Sans Pro SemiBold"/>
                <a:sym typeface="Helvetica Neue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CA8EF24D-315F-46A4-8573-AB48D27D7DA7}"/>
              </a:ext>
            </a:extLst>
          </p:cNvPr>
          <p:cNvSpPr/>
          <p:nvPr userDrawn="1"/>
        </p:nvSpPr>
        <p:spPr>
          <a:xfrm>
            <a:off x="-1" y="0"/>
            <a:ext cx="6097373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691881825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links, quote rechts cyaa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07812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30" y="2366962"/>
            <a:ext cx="5078127" cy="3882962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10" name="Tijdelijke aanduiding voor tekst 7">
            <a:extLst>
              <a:ext uri="{FF2B5EF4-FFF2-40B4-BE49-F238E27FC236}">
                <a16:creationId xmlns:a16="http://schemas.microsoft.com/office/drawing/2014/main" id="{C20780F3-9874-42E2-9134-8654A0E10E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5078000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2" name="Tijdelijke aanduiding voor datum 4">
            <a:extLst>
              <a:ext uri="{FF2B5EF4-FFF2-40B4-BE49-F238E27FC236}">
                <a16:creationId xmlns:a16="http://schemas.microsoft.com/office/drawing/2014/main" id="{C0AD3576-C793-4DF7-B360-175EEA6056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7B936297-777D-419D-9DA3-7CCD322AF7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A39F3B13-F143-46FD-9AE2-CD0F40B88A1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90786" y="850107"/>
            <a:ext cx="4826000" cy="5399881"/>
          </a:xfrm>
        </p:spPr>
        <p:txBody>
          <a:bodyPr anchor="ctr"/>
          <a:lstStyle>
            <a:lvl1pPr>
              <a:defRPr kumimoji="0" lang="nl-NL" sz="3300" b="1" i="1" u="none" strike="noStrike" cap="none" spc="-116" normalizeH="0" baseline="0" smtClean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Source Sans Pro SemiBold" panose="020B0603030403020204" pitchFamily="34" charset="0"/>
                <a:ea typeface="Source Sans Pro SemiBold" panose="020B0603030403020204" pitchFamily="34" charset="0"/>
                <a:cs typeface="Source Sans Pro SemiBold"/>
                <a:sym typeface="Helvetica Neue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142AF8D2-C0EC-442B-8008-639749058BA7}"/>
              </a:ext>
            </a:extLst>
          </p:cNvPr>
          <p:cNvSpPr/>
          <p:nvPr userDrawn="1"/>
        </p:nvSpPr>
        <p:spPr>
          <a:xfrm>
            <a:off x="-1" y="0"/>
            <a:ext cx="6097373" cy="6858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5400" tIns="25400" rIns="25400" bIns="25400" numCol="1" spcCol="38100" rtlCol="0" anchor="ctr">
            <a:no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600" b="0" i="0" u="none" strike="noStrike" cap="none" spc="0" normalizeH="0" baseline="0" dirty="0">
              <a:ln>
                <a:noFill/>
              </a:ln>
              <a:solidFill>
                <a:srgbClr val="FFFFFF"/>
              </a:solidFill>
              <a:effectLst/>
              <a:uFillTx/>
              <a:latin typeface="Source Sans Pro SemiBold" panose="020B0603030403020204" pitchFamily="34" charset="0"/>
              <a:ea typeface="Source Sans Pro SemiBold" panose="020B0603030403020204" pitchFamily="34" charset="0"/>
              <a:cs typeface="Helvetica Neue Medium"/>
              <a:sym typeface="Helvetica Neue Medium"/>
            </a:endParaRPr>
          </a:p>
        </p:txBody>
      </p:sp>
    </p:spTree>
    <p:extLst>
      <p:ext uri="{BB962C8B-B14F-4D97-AF65-F5344CB8AC3E}">
        <p14:creationId xmlns:p14="http://schemas.microsoft.com/office/powerpoint/2010/main" val="13310827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voor grafie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258024"/>
            <a:ext cx="5239672" cy="762136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46F2A3CA-7135-4C73-8C32-2296468432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29" y="2336292"/>
            <a:ext cx="5239671" cy="3913632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jdelijke aanduiding voor tekst 7">
            <a:extLst>
              <a:ext uri="{FF2B5EF4-FFF2-40B4-BE49-F238E27FC236}">
                <a16:creationId xmlns:a16="http://schemas.microsoft.com/office/drawing/2014/main" id="{A376AED8-1244-4BB8-9B1B-74DBC17C15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6457" y="810245"/>
            <a:ext cx="5239544" cy="361157"/>
          </a:xfrm>
        </p:spPr>
        <p:txBody>
          <a:bodyPr>
            <a:normAutofit/>
          </a:bodyPr>
          <a:lstStyle>
            <a:lvl1pPr>
              <a:defRPr sz="1500">
                <a:latin typeface="+mj-lt"/>
              </a:defRPr>
            </a:lvl1pPr>
          </a:lstStyle>
          <a:p>
            <a:pPr lvl="0"/>
            <a:r>
              <a:rPr lang="nl-NL" dirty="0"/>
              <a:t>Hoofdstuktitel Deel I: Titel</a:t>
            </a:r>
          </a:p>
        </p:txBody>
      </p:sp>
      <p:sp>
        <p:nvSpPr>
          <p:cNvPr id="10" name="Tijdelijke aanduiding voor datum 4">
            <a:extLst>
              <a:ext uri="{FF2B5EF4-FFF2-40B4-BE49-F238E27FC236}">
                <a16:creationId xmlns:a16="http://schemas.microsoft.com/office/drawing/2014/main" id="{CC444132-ABD5-46E1-9E26-7F6CB10C24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3" name="Tijdelijke aanduiding voor voettekst 4">
            <a:extLst>
              <a:ext uri="{FF2B5EF4-FFF2-40B4-BE49-F238E27FC236}">
                <a16:creationId xmlns:a16="http://schemas.microsoft.com/office/drawing/2014/main" id="{9ADC3D26-8D3B-4011-8378-F3630EC379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258162161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3" pos="1080">
          <p15:clr>
            <a:srgbClr val="FBAE40"/>
          </p15:clr>
        </p15:guide>
        <p15:guide id="4" pos="14597">
          <p15:clr>
            <a:srgbClr val="FBAE40"/>
          </p15:clr>
        </p15:guide>
        <p15:guide id="5" orient="horz" pos="2937">
          <p15:clr>
            <a:srgbClr val="FBAE40"/>
          </p15:clr>
        </p15:guide>
        <p15:guide id="6" orient="horz" pos="7881">
          <p15:clr>
            <a:srgbClr val="FBAE40"/>
          </p15:clr>
        </p15:guide>
        <p15:guide id="7" orient="horz" pos="2551">
          <p15:clr>
            <a:srgbClr val="FBAE40"/>
          </p15:clr>
        </p15:guide>
        <p15:guide id="8" orient="horz" pos="1530">
          <p15:clr>
            <a:srgbClr val="FBAE40"/>
          </p15:clr>
        </p15:guide>
        <p15:guide id="9" orient="horz" pos="5386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3 mens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jdelijke aanduiding voor afbeelding 4">
            <a:extLst>
              <a:ext uri="{FF2B5EF4-FFF2-40B4-BE49-F238E27FC236}">
                <a16:creationId xmlns:a16="http://schemas.microsoft.com/office/drawing/2014/main" id="{17349256-0583-4A98-8C82-CDA06C6F12E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739215" y="837151"/>
            <a:ext cx="2584537" cy="2591850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4" name="Tijdelijke aanduiding voor afbeelding 4">
            <a:extLst>
              <a:ext uri="{FF2B5EF4-FFF2-40B4-BE49-F238E27FC236}">
                <a16:creationId xmlns:a16="http://schemas.microsoft.com/office/drawing/2014/main" id="{8072D5DF-EE87-450C-8C75-E902EEF55275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5833282" y="823140"/>
            <a:ext cx="2584537" cy="2591850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15" name="Tijdelijke aanduiding voor afbeelding 4">
            <a:extLst>
              <a:ext uri="{FF2B5EF4-FFF2-40B4-BE49-F238E27FC236}">
                <a16:creationId xmlns:a16="http://schemas.microsoft.com/office/drawing/2014/main" id="{D4AED5D6-D7A4-4ED9-9446-A277FC59805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920998" y="823140"/>
            <a:ext cx="2584537" cy="2591850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A3FC00F-2287-47AD-9984-FA116F4966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329" y="1258024"/>
            <a:ext cx="1694847" cy="762136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DC440E65-E1B9-4478-9002-DC9C20CF06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94584A1C-E89C-4C4D-BBD3-B5A4C76A44E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39215" y="2509838"/>
            <a:ext cx="915988" cy="91916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>
              <a:defRPr sz="1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8" name="Tijdelijke aanduiding voor tekst 16">
            <a:extLst>
              <a:ext uri="{FF2B5EF4-FFF2-40B4-BE49-F238E27FC236}">
                <a16:creationId xmlns:a16="http://schemas.microsoft.com/office/drawing/2014/main" id="{4803155F-CA8B-4BFC-A575-05A09262435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33282" y="2495827"/>
            <a:ext cx="915988" cy="91916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3"/>
          </a:solidFill>
        </p:spPr>
        <p:txBody>
          <a:bodyPr anchor="ctr">
            <a:normAutofit/>
          </a:bodyPr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9" name="Tijdelijke aanduiding voor tekst 16">
            <a:extLst>
              <a:ext uri="{FF2B5EF4-FFF2-40B4-BE49-F238E27FC236}">
                <a16:creationId xmlns:a16="http://schemas.microsoft.com/office/drawing/2014/main" id="{2294C1AC-93FC-47B9-8FDF-0596E48840E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20998" y="2495827"/>
            <a:ext cx="915988" cy="91916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BD0FF4BF-30F5-4189-AC59-2A9DD123728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833282" y="3583782"/>
            <a:ext cx="2605189" cy="2654300"/>
          </a:xfrm>
        </p:spPr>
        <p:txBody>
          <a:bodyPr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ijdelijke aanduiding voor tekst 20">
            <a:extLst>
              <a:ext uri="{FF2B5EF4-FFF2-40B4-BE49-F238E27FC236}">
                <a16:creationId xmlns:a16="http://schemas.microsoft.com/office/drawing/2014/main" id="{25A939FC-1618-4F54-8957-AB4D7CD1B01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2751916" y="3583782"/>
            <a:ext cx="2605189" cy="2654300"/>
          </a:xfrm>
        </p:spPr>
        <p:txBody>
          <a:bodyPr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3" name="Tijdelijke aanduiding voor tekst 20">
            <a:extLst>
              <a:ext uri="{FF2B5EF4-FFF2-40B4-BE49-F238E27FC236}">
                <a16:creationId xmlns:a16="http://schemas.microsoft.com/office/drawing/2014/main" id="{2AF4F2F1-04D4-4ED2-A8BD-A82E20E4C1A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920998" y="3583782"/>
            <a:ext cx="2605189" cy="2654300"/>
          </a:xfrm>
        </p:spPr>
        <p:txBody>
          <a:bodyPr>
            <a:normAutofit/>
          </a:bodyPr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6" name="Tijdelijke aanduiding voor datum 4">
            <a:extLst>
              <a:ext uri="{FF2B5EF4-FFF2-40B4-BE49-F238E27FC236}">
                <a16:creationId xmlns:a16="http://schemas.microsoft.com/office/drawing/2014/main" id="{CD12FB75-B47C-4AF8-966C-DE326A58C7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20" name="Tijdelijke aanduiding voor voettekst 4">
            <a:extLst>
              <a:ext uri="{FF2B5EF4-FFF2-40B4-BE49-F238E27FC236}">
                <a16:creationId xmlns:a16="http://schemas.microsoft.com/office/drawing/2014/main" id="{784E6AE7-5463-42D6-AA8D-4FE05FE03E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204830527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 lichtgro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n datum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29868" y="5316910"/>
            <a:ext cx="9866377" cy="356616"/>
          </a:xfrm>
          <a:prstGeom prst="rect">
            <a:avLst/>
          </a:prstGeom>
        </p:spPr>
        <p:txBody>
          <a:bodyPr lIns="216000" tIns="45719" rIns="45719" bIns="45719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000" b="0">
                <a:latin typeface="+mn-lt"/>
              </a:defRPr>
            </a:lvl1pPr>
          </a:lstStyle>
          <a:p>
            <a:r>
              <a:rPr lang="nl-NL" dirty="0"/>
              <a:t>Auteurs</a:t>
            </a:r>
            <a:endParaRPr dirty="0"/>
          </a:p>
        </p:txBody>
      </p:sp>
      <p:sp>
        <p:nvSpPr>
          <p:cNvPr id="12" name="Naam presentatie"/>
          <p:cNvSpPr txBox="1">
            <a:spLocks noGrp="1"/>
          </p:cNvSpPr>
          <p:nvPr>
            <p:ph type="title" hasCustomPrompt="1"/>
          </p:nvPr>
        </p:nvSpPr>
        <p:spPr>
          <a:xfrm>
            <a:off x="1252728" y="3314700"/>
            <a:ext cx="9866377" cy="758953"/>
          </a:xfrm>
          <a:prstGeom prst="rect">
            <a:avLst/>
          </a:prstGeom>
        </p:spPr>
        <p:txBody>
          <a:bodyPr lIns="144000" anchor="t">
            <a:noAutofit/>
          </a:bodyPr>
          <a:lstStyle>
            <a:lvl1pPr>
              <a:defRPr sz="6000" b="0" spc="0" baseline="0">
                <a:latin typeface="+mj-lt"/>
              </a:defRPr>
            </a:lvl1pPr>
          </a:lstStyle>
          <a:p>
            <a:r>
              <a:rPr lang="nl-NL" dirty="0"/>
              <a:t>Titel</a:t>
            </a:r>
            <a:endParaRPr dirty="0"/>
          </a:p>
        </p:txBody>
      </p:sp>
      <p:sp>
        <p:nvSpPr>
          <p:cNvPr id="13" name="Hoofdtekst - niveau é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48156" y="1284732"/>
            <a:ext cx="9870949" cy="2029968"/>
          </a:xfrm>
          <a:prstGeom prst="rect">
            <a:avLst/>
          </a:prstGeom>
        </p:spPr>
        <p:txBody>
          <a:bodyPr lIns="108000" bIns="0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6100" b="0" spc="55" baseline="0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nl-NL" dirty="0"/>
              <a:t>Subtitel</a:t>
            </a:r>
          </a:p>
        </p:txBody>
      </p:sp>
      <p:sp>
        <p:nvSpPr>
          <p:cNvPr id="9" name="Tijdelijke aanduiding voor datum 4">
            <a:extLst>
              <a:ext uri="{FF2B5EF4-FFF2-40B4-BE49-F238E27FC236}">
                <a16:creationId xmlns:a16="http://schemas.microsoft.com/office/drawing/2014/main" id="{1AB02A12-0190-465E-B00A-B91F85BC46FC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229868" y="5683940"/>
            <a:ext cx="9866376" cy="365125"/>
          </a:xfrm>
          <a:prstGeom prst="rect">
            <a:avLst/>
          </a:prstGeom>
        </p:spPr>
        <p:txBody>
          <a:bodyPr vert="horz" lIns="180000" tIns="45720" rIns="91440" bIns="45720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B150532B-FCF9-426A-ADF2-F182BD70000C}" type="datetime4">
              <a:rPr lang="nl-NL" smtClean="0"/>
              <a:t>8 juni 2023</a:t>
            </a:fld>
            <a:endParaRPr lang="nl-NL" dirty="0"/>
          </a:p>
        </p:txBody>
      </p:sp>
      <p:sp>
        <p:nvSpPr>
          <p:cNvPr id="10" name="Dianummer">
            <a:extLst>
              <a:ext uri="{FF2B5EF4-FFF2-40B4-BE49-F238E27FC236}">
                <a16:creationId xmlns:a16="http://schemas.microsoft.com/office/drawing/2014/main" id="{869DACE5-1BFD-404D-92ED-AAFC9B1C2565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588750" y="6823285"/>
            <a:ext cx="405638" cy="27186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r" defTabSz="292100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tx1"/>
                </a:solidFill>
                <a:latin typeface="+mn-lt"/>
                <a:ea typeface="Source Sans Pro" panose="020B0503030403020204" pitchFamily="34" charset="0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7C9BDE5E-80A3-4C58-8E43-C644B52042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5" y="206685"/>
            <a:ext cx="1082626" cy="1082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549876"/>
      </p:ext>
    </p:extLst>
  </p:cSld>
  <p:clrMapOvr>
    <a:masterClrMapping/>
  </p:clrMapOvr>
  <p:transition spd="med"/>
  <p:hf sldNum="0"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6 p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jdelijke aanduiding voor afbeelding 4">
            <a:extLst>
              <a:ext uri="{FF2B5EF4-FFF2-40B4-BE49-F238E27FC236}">
                <a16:creationId xmlns:a16="http://schemas.microsoft.com/office/drawing/2014/main" id="{56308023-5269-413B-9974-035A8CF90D23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510275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9" name="Tijdelijke aanduiding voor afbeelding 4">
            <a:extLst>
              <a:ext uri="{FF2B5EF4-FFF2-40B4-BE49-F238E27FC236}">
                <a16:creationId xmlns:a16="http://schemas.microsoft.com/office/drawing/2014/main" id="{6D0860F5-A654-4D9F-A3C2-5B9E0FD79ACD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2396654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50" name="Tijdelijke aanduiding voor afbeelding 4">
            <a:extLst>
              <a:ext uri="{FF2B5EF4-FFF2-40B4-BE49-F238E27FC236}">
                <a16:creationId xmlns:a16="http://schemas.microsoft.com/office/drawing/2014/main" id="{DAD629BB-9687-4F65-9A23-D5B75ACEB65C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283033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53" name="Tijdelijke aanduiding voor afbeelding 4">
            <a:extLst>
              <a:ext uri="{FF2B5EF4-FFF2-40B4-BE49-F238E27FC236}">
                <a16:creationId xmlns:a16="http://schemas.microsoft.com/office/drawing/2014/main" id="{43B0E027-E92F-4FCF-B6AE-462481AD4659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169412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5" name="Tijdelijke aanduiding voor afbeelding 4">
            <a:extLst>
              <a:ext uri="{FF2B5EF4-FFF2-40B4-BE49-F238E27FC236}">
                <a16:creationId xmlns:a16="http://schemas.microsoft.com/office/drawing/2014/main" id="{F9627921-2306-4F02-8B30-C15F85E831C6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445298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6" name="Tijdelijke aanduiding voor afbeelding 4">
            <a:extLst>
              <a:ext uri="{FF2B5EF4-FFF2-40B4-BE49-F238E27FC236}">
                <a16:creationId xmlns:a16="http://schemas.microsoft.com/office/drawing/2014/main" id="{BE7212F7-FFE0-4043-8547-32B110ADBC99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2331677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7" name="Tijdelijke aanduiding voor afbeelding 4">
            <a:extLst>
              <a:ext uri="{FF2B5EF4-FFF2-40B4-BE49-F238E27FC236}">
                <a16:creationId xmlns:a16="http://schemas.microsoft.com/office/drawing/2014/main" id="{E220AFA2-ED47-4466-86BC-6F8C2AEA0308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4218056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8" name="Tijdelijke aanduiding voor afbeelding 4">
            <a:extLst>
              <a:ext uri="{FF2B5EF4-FFF2-40B4-BE49-F238E27FC236}">
                <a16:creationId xmlns:a16="http://schemas.microsoft.com/office/drawing/2014/main" id="{2F69247B-3DC3-484B-AC12-27F304AD12EA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6104435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9" name="Tijdelijke aanduiding voor afbeelding 4">
            <a:extLst>
              <a:ext uri="{FF2B5EF4-FFF2-40B4-BE49-F238E27FC236}">
                <a16:creationId xmlns:a16="http://schemas.microsoft.com/office/drawing/2014/main" id="{F4C9B101-2726-418F-9714-28CD43C16BF1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8055791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90" name="Tijdelijke aanduiding voor afbeelding 4">
            <a:extLst>
              <a:ext uri="{FF2B5EF4-FFF2-40B4-BE49-F238E27FC236}">
                <a16:creationId xmlns:a16="http://schemas.microsoft.com/office/drawing/2014/main" id="{CCEE2110-2AAA-44A3-B74E-BAB490839E09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9942171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91" name="Tijdelijke aanduiding voor afbeelding 4">
            <a:extLst>
              <a:ext uri="{FF2B5EF4-FFF2-40B4-BE49-F238E27FC236}">
                <a16:creationId xmlns:a16="http://schemas.microsoft.com/office/drawing/2014/main" id="{4009A7A3-D236-4FA5-8ED6-060072213F26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7990814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92" name="Tijdelijke aanduiding voor afbeelding 4">
            <a:extLst>
              <a:ext uri="{FF2B5EF4-FFF2-40B4-BE49-F238E27FC236}">
                <a16:creationId xmlns:a16="http://schemas.microsoft.com/office/drawing/2014/main" id="{6070B636-85E8-459E-B32E-0299FB488C0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9877193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4" name="Tijdelijke aanduiding voor afbeelding 4">
            <a:extLst>
              <a:ext uri="{FF2B5EF4-FFF2-40B4-BE49-F238E27FC236}">
                <a16:creationId xmlns:a16="http://schemas.microsoft.com/office/drawing/2014/main" id="{3A208742-123A-4463-A4E4-F69DA7874E0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81845" y="807199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5" name="Tijdelijke aanduiding voor afbeelding 4">
            <a:extLst>
              <a:ext uri="{FF2B5EF4-FFF2-40B4-BE49-F238E27FC236}">
                <a16:creationId xmlns:a16="http://schemas.microsoft.com/office/drawing/2014/main" id="{CC9E9F84-0C2F-4AEF-AF64-4C9A2815C029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159278" y="807199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6" name="Tijdelijke aanduiding voor afbeelding 4">
            <a:extLst>
              <a:ext uri="{FF2B5EF4-FFF2-40B4-BE49-F238E27FC236}">
                <a16:creationId xmlns:a16="http://schemas.microsoft.com/office/drawing/2014/main" id="{A97DAC88-8539-4311-A77F-3BCFE9C6D16F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8036712" y="807199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7" name="Tijdelijke aanduiding voor afbeelding 4">
            <a:extLst>
              <a:ext uri="{FF2B5EF4-FFF2-40B4-BE49-F238E27FC236}">
                <a16:creationId xmlns:a16="http://schemas.microsoft.com/office/drawing/2014/main" id="{D5652E8A-84C2-4D8F-A602-CA1D0CCA626F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9914146" y="807199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142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23" name="Afbeelding" descr="Afbeelding">
            <a:extLst>
              <a:ext uri="{FF2B5EF4-FFF2-40B4-BE49-F238E27FC236}">
                <a16:creationId xmlns:a16="http://schemas.microsoft.com/office/drawing/2014/main" id="{B86A8481-6149-4A9C-8950-388027A0B3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236066" y="1720999"/>
            <a:ext cx="796908" cy="796908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Charlotte  Derksen">
            <a:extLst>
              <a:ext uri="{FF2B5EF4-FFF2-40B4-BE49-F238E27FC236}">
                <a16:creationId xmlns:a16="http://schemas.microsoft.com/office/drawing/2014/main" id="{057C84DC-BFE2-4E74-BB67-6ECED75771B7}"/>
              </a:ext>
            </a:extLst>
          </p:cNvPr>
          <p:cNvSpPr txBox="1"/>
          <p:nvPr userDrawn="1"/>
        </p:nvSpPr>
        <p:spPr>
          <a:xfrm>
            <a:off x="8955225" y="2162653"/>
            <a:ext cx="557293" cy="4235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/>
          <a:p>
            <a:pPr>
              <a:lnSpc>
                <a:spcPct val="80000"/>
              </a:lnSpc>
              <a:spcBef>
                <a:spcPts val="0"/>
              </a:spcBef>
              <a:defRPr sz="2000" spc="-39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sz="1000">
                <a:latin typeface="+mn-lt"/>
              </a:rPr>
              <a:t>Charlotte </a:t>
            </a:r>
            <a:br>
              <a:rPr sz="1000">
                <a:latin typeface="+mn-lt"/>
              </a:rPr>
            </a:br>
            <a:r>
              <a:rPr sz="1000">
                <a:latin typeface="+mn-lt"/>
              </a:rPr>
              <a:t>Derksen</a:t>
            </a:r>
          </a:p>
        </p:txBody>
      </p:sp>
      <p:sp>
        <p:nvSpPr>
          <p:cNvPr id="33" name="Marcel  Heskes">
            <a:extLst>
              <a:ext uri="{FF2B5EF4-FFF2-40B4-BE49-F238E27FC236}">
                <a16:creationId xmlns:a16="http://schemas.microsoft.com/office/drawing/2014/main" id="{1C8D4FB7-92FF-4521-9CB4-1064DC0464CE}"/>
              </a:ext>
            </a:extLst>
          </p:cNvPr>
          <p:cNvSpPr txBox="1"/>
          <p:nvPr userDrawn="1"/>
        </p:nvSpPr>
        <p:spPr>
          <a:xfrm>
            <a:off x="6275300" y="2162653"/>
            <a:ext cx="462003" cy="4235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/>
          <a:lstStyle/>
          <a:p>
            <a:pPr>
              <a:lnSpc>
                <a:spcPct val="80000"/>
              </a:lnSpc>
              <a:spcBef>
                <a:spcPts val="0"/>
              </a:spcBef>
              <a:defRPr sz="2000" spc="-39">
                <a:latin typeface="Helvetica"/>
                <a:ea typeface="Helvetica"/>
                <a:cs typeface="Helvetica"/>
                <a:sym typeface="Helvetica"/>
              </a:defRPr>
            </a:pPr>
            <a:r>
              <a:rPr sz="1000">
                <a:latin typeface="+mn-lt"/>
              </a:rPr>
              <a:t>Marcel </a:t>
            </a:r>
            <a:br>
              <a:rPr sz="1000">
                <a:latin typeface="+mn-lt"/>
              </a:rPr>
            </a:br>
            <a:r>
              <a:rPr sz="1000">
                <a:latin typeface="+mn-lt"/>
              </a:rPr>
              <a:t>Heskes</a:t>
            </a: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66F276E5-9E16-45E0-B619-838BCEED8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329" y="1258024"/>
            <a:ext cx="2970435" cy="762136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Ons Team</a:t>
            </a:r>
          </a:p>
        </p:txBody>
      </p:sp>
      <p:sp>
        <p:nvSpPr>
          <p:cNvPr id="54" name="Tijdelijke aanduiding voor tekst 16">
            <a:extLst>
              <a:ext uri="{FF2B5EF4-FFF2-40B4-BE49-F238E27FC236}">
                <a16:creationId xmlns:a16="http://schemas.microsoft.com/office/drawing/2014/main" id="{50AAAAA8-CA72-4907-8768-815713F491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7446" y="1725021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4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0" name="Tijdelijke aanduiding voor tekst 16">
            <a:extLst>
              <a:ext uri="{FF2B5EF4-FFF2-40B4-BE49-F238E27FC236}">
                <a16:creationId xmlns:a16="http://schemas.microsoft.com/office/drawing/2014/main" id="{B37D1FB1-A0D4-4B93-88F3-F1221E6313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232426" y="1714584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1" name="Tijdelijke aanduiding voor tekst 16">
            <a:extLst>
              <a:ext uri="{FF2B5EF4-FFF2-40B4-BE49-F238E27FC236}">
                <a16:creationId xmlns:a16="http://schemas.microsoft.com/office/drawing/2014/main" id="{90FE78DC-F7B6-4743-A61B-82F07DFE759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123779" y="1751921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1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2" name="Tijdelijke aanduiding voor tekst 16">
            <a:extLst>
              <a:ext uri="{FF2B5EF4-FFF2-40B4-BE49-F238E27FC236}">
                <a16:creationId xmlns:a16="http://schemas.microsoft.com/office/drawing/2014/main" id="{C03BA77D-78EB-4522-B147-A1CEB187DDD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991876" y="1725021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3" name="Tijdelijke aanduiding voor tekst 16">
            <a:extLst>
              <a:ext uri="{FF2B5EF4-FFF2-40B4-BE49-F238E27FC236}">
                <a16:creationId xmlns:a16="http://schemas.microsoft.com/office/drawing/2014/main" id="{D9304DE9-0D5B-4AF7-A405-5A9832FCC3C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28886" y="3577116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3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4" name="Tijdelijke aanduiding voor tekst 16">
            <a:extLst>
              <a:ext uri="{FF2B5EF4-FFF2-40B4-BE49-F238E27FC236}">
                <a16:creationId xmlns:a16="http://schemas.microsoft.com/office/drawing/2014/main" id="{500595B5-DDA9-4FFB-B8FF-FECB24A00B0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513866" y="3566679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1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5" name="Tijdelijke aanduiding voor tekst 16">
            <a:extLst>
              <a:ext uri="{FF2B5EF4-FFF2-40B4-BE49-F238E27FC236}">
                <a16:creationId xmlns:a16="http://schemas.microsoft.com/office/drawing/2014/main" id="{54DBCFA7-04EC-4945-A983-C67216E4D07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405219" y="3604016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5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6" name="Tijdelijke aanduiding voor tekst 16">
            <a:extLst>
              <a:ext uri="{FF2B5EF4-FFF2-40B4-BE49-F238E27FC236}">
                <a16:creationId xmlns:a16="http://schemas.microsoft.com/office/drawing/2014/main" id="{4C9750C9-C942-4FC4-86DB-BE13B23FB94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273316" y="3577116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7" name="Tijdelijke aanduiding voor tekst 16">
            <a:extLst>
              <a:ext uri="{FF2B5EF4-FFF2-40B4-BE49-F238E27FC236}">
                <a16:creationId xmlns:a16="http://schemas.microsoft.com/office/drawing/2014/main" id="{F61F0CFD-C77B-4DC6-91C0-B78E34EC7CE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28886" y="5481027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8" name="Tijdelijke aanduiding voor tekst 16">
            <a:extLst>
              <a:ext uri="{FF2B5EF4-FFF2-40B4-BE49-F238E27FC236}">
                <a16:creationId xmlns:a16="http://schemas.microsoft.com/office/drawing/2014/main" id="{1ADAD69A-A98C-4148-96B0-018F906DEC8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513866" y="5470590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4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9" name="Tijdelijke aanduiding voor tekst 16">
            <a:extLst>
              <a:ext uri="{FF2B5EF4-FFF2-40B4-BE49-F238E27FC236}">
                <a16:creationId xmlns:a16="http://schemas.microsoft.com/office/drawing/2014/main" id="{9797DDC6-B445-435F-9881-246B875F8F3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405219" y="5507927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3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0" name="Tijdelijke aanduiding voor tekst 16">
            <a:extLst>
              <a:ext uri="{FF2B5EF4-FFF2-40B4-BE49-F238E27FC236}">
                <a16:creationId xmlns:a16="http://schemas.microsoft.com/office/drawing/2014/main" id="{AFAE847E-864F-431A-BD3F-0C85ABBB75B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273316" y="5481027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1" name="Tijdelijke aanduiding voor tekst 16">
            <a:extLst>
              <a:ext uri="{FF2B5EF4-FFF2-40B4-BE49-F238E27FC236}">
                <a16:creationId xmlns:a16="http://schemas.microsoft.com/office/drawing/2014/main" id="{8A4A2EA6-4A5E-4B2D-9254-C999369FD4A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106896" y="3625607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4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2" name="Tijdelijke aanduiding voor tekst 16">
            <a:extLst>
              <a:ext uri="{FF2B5EF4-FFF2-40B4-BE49-F238E27FC236}">
                <a16:creationId xmlns:a16="http://schemas.microsoft.com/office/drawing/2014/main" id="{79FA4C7F-4C64-489A-B20C-B281A788E38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991876" y="3615169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5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3" name="Tijdelijke aanduiding voor tekst 16">
            <a:extLst>
              <a:ext uri="{FF2B5EF4-FFF2-40B4-BE49-F238E27FC236}">
                <a16:creationId xmlns:a16="http://schemas.microsoft.com/office/drawing/2014/main" id="{951786A5-7AF9-4A6B-862F-7DB95C48A99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8164669" y="5504601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3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4" name="Tijdelijke aanduiding voor tekst 16">
            <a:extLst>
              <a:ext uri="{FF2B5EF4-FFF2-40B4-BE49-F238E27FC236}">
                <a16:creationId xmlns:a16="http://schemas.microsoft.com/office/drawing/2014/main" id="{F6531E7D-FE5E-4882-80C6-C8EC26A2811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10032766" y="547770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1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42" name="Tijdelijke aanduiding voor datum 4">
            <a:extLst>
              <a:ext uri="{FF2B5EF4-FFF2-40B4-BE49-F238E27FC236}">
                <a16:creationId xmlns:a16="http://schemas.microsoft.com/office/drawing/2014/main" id="{A269BD71-7887-47B1-A76A-8B23708D6348}"/>
              </a:ext>
            </a:extLst>
          </p:cNvPr>
          <p:cNvSpPr>
            <a:spLocks noGrp="1"/>
          </p:cNvSpPr>
          <p:nvPr>
            <p:ph type="dt" sz="half" idx="58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/>
          </a:p>
        </p:txBody>
      </p:sp>
      <p:sp>
        <p:nvSpPr>
          <p:cNvPr id="43" name="Tijdelijke aanduiding voor voettekst 4">
            <a:extLst>
              <a:ext uri="{FF2B5EF4-FFF2-40B4-BE49-F238E27FC236}">
                <a16:creationId xmlns:a16="http://schemas.microsoft.com/office/drawing/2014/main" id="{6A4070D8-396B-47BD-B59A-C3959F25B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3377285278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7 pa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jdelijke aanduiding voor afbeelding 4">
            <a:extLst>
              <a:ext uri="{FF2B5EF4-FFF2-40B4-BE49-F238E27FC236}">
                <a16:creationId xmlns:a16="http://schemas.microsoft.com/office/drawing/2014/main" id="{56308023-5269-413B-9974-035A8CF90D23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445298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9" name="Tijdelijke aanduiding voor afbeelding 4">
            <a:extLst>
              <a:ext uri="{FF2B5EF4-FFF2-40B4-BE49-F238E27FC236}">
                <a16:creationId xmlns:a16="http://schemas.microsoft.com/office/drawing/2014/main" id="{6D0860F5-A654-4D9F-A3C2-5B9E0FD79ACD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2331677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50" name="Tijdelijke aanduiding voor afbeelding 4">
            <a:extLst>
              <a:ext uri="{FF2B5EF4-FFF2-40B4-BE49-F238E27FC236}">
                <a16:creationId xmlns:a16="http://schemas.microsoft.com/office/drawing/2014/main" id="{DAD629BB-9687-4F65-9A23-D5B75ACEB65C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4218056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53" name="Tijdelijke aanduiding voor afbeelding 4">
            <a:extLst>
              <a:ext uri="{FF2B5EF4-FFF2-40B4-BE49-F238E27FC236}">
                <a16:creationId xmlns:a16="http://schemas.microsoft.com/office/drawing/2014/main" id="{43B0E027-E92F-4FCF-B6AE-462481AD4659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104435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5" name="Tijdelijke aanduiding voor afbeelding 4">
            <a:extLst>
              <a:ext uri="{FF2B5EF4-FFF2-40B4-BE49-F238E27FC236}">
                <a16:creationId xmlns:a16="http://schemas.microsoft.com/office/drawing/2014/main" id="{F9627921-2306-4F02-8B30-C15F85E831C6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445298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6" name="Tijdelijke aanduiding voor afbeelding 4">
            <a:extLst>
              <a:ext uri="{FF2B5EF4-FFF2-40B4-BE49-F238E27FC236}">
                <a16:creationId xmlns:a16="http://schemas.microsoft.com/office/drawing/2014/main" id="{BE7212F7-FFE0-4043-8547-32B110ADBC99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2331677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7" name="Tijdelijke aanduiding voor afbeelding 4">
            <a:extLst>
              <a:ext uri="{FF2B5EF4-FFF2-40B4-BE49-F238E27FC236}">
                <a16:creationId xmlns:a16="http://schemas.microsoft.com/office/drawing/2014/main" id="{E220AFA2-ED47-4466-86BC-6F8C2AEA0308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4218056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8" name="Tijdelijke aanduiding voor afbeelding 4">
            <a:extLst>
              <a:ext uri="{FF2B5EF4-FFF2-40B4-BE49-F238E27FC236}">
                <a16:creationId xmlns:a16="http://schemas.microsoft.com/office/drawing/2014/main" id="{2F69247B-3DC3-484B-AC12-27F304AD12EA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6104435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89" name="Tijdelijke aanduiding voor afbeelding 4">
            <a:extLst>
              <a:ext uri="{FF2B5EF4-FFF2-40B4-BE49-F238E27FC236}">
                <a16:creationId xmlns:a16="http://schemas.microsoft.com/office/drawing/2014/main" id="{F4C9B101-2726-418F-9714-28CD43C16BF1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7990814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90" name="Tijdelijke aanduiding voor afbeelding 4">
            <a:extLst>
              <a:ext uri="{FF2B5EF4-FFF2-40B4-BE49-F238E27FC236}">
                <a16:creationId xmlns:a16="http://schemas.microsoft.com/office/drawing/2014/main" id="{CCEE2110-2AAA-44A3-B74E-BAB490839E09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9877193" y="2743990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91" name="Tijdelijke aanduiding voor afbeelding 4">
            <a:extLst>
              <a:ext uri="{FF2B5EF4-FFF2-40B4-BE49-F238E27FC236}">
                <a16:creationId xmlns:a16="http://schemas.microsoft.com/office/drawing/2014/main" id="{4009A7A3-D236-4FA5-8ED6-060072213F26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7990814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92" name="Tijdelijke aanduiding voor afbeelding 4">
            <a:extLst>
              <a:ext uri="{FF2B5EF4-FFF2-40B4-BE49-F238E27FC236}">
                <a16:creationId xmlns:a16="http://schemas.microsoft.com/office/drawing/2014/main" id="{6070B636-85E8-459E-B32E-0299FB488C01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9877193" y="47294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4" name="Tijdelijke aanduiding voor afbeelding 4">
            <a:extLst>
              <a:ext uri="{FF2B5EF4-FFF2-40B4-BE49-F238E27FC236}">
                <a16:creationId xmlns:a16="http://schemas.microsoft.com/office/drawing/2014/main" id="{3A208742-123A-4463-A4E4-F69DA7874E0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18056" y="8136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5" name="Tijdelijke aanduiding voor afbeelding 4">
            <a:extLst>
              <a:ext uri="{FF2B5EF4-FFF2-40B4-BE49-F238E27FC236}">
                <a16:creationId xmlns:a16="http://schemas.microsoft.com/office/drawing/2014/main" id="{CC9E9F84-0C2F-4AEF-AF64-4C9A2815C029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6104435" y="8136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6" name="Tijdelijke aanduiding voor afbeelding 4">
            <a:extLst>
              <a:ext uri="{FF2B5EF4-FFF2-40B4-BE49-F238E27FC236}">
                <a16:creationId xmlns:a16="http://schemas.microsoft.com/office/drawing/2014/main" id="{A97DAC88-8539-4311-A77F-3BCFE9C6D16F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990814" y="8136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47" name="Tijdelijke aanduiding voor afbeelding 4">
            <a:extLst>
              <a:ext uri="{FF2B5EF4-FFF2-40B4-BE49-F238E27FC236}">
                <a16:creationId xmlns:a16="http://schemas.microsoft.com/office/drawing/2014/main" id="{D5652E8A-84C2-4D8F-A602-CA1D0CCA626F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9877193" y="8136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142" name="Dianumm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23" name="Afbeelding" descr="Afbeelding">
            <a:extLst>
              <a:ext uri="{FF2B5EF4-FFF2-40B4-BE49-F238E27FC236}">
                <a16:creationId xmlns:a16="http://schemas.microsoft.com/office/drawing/2014/main" id="{B86A8481-6149-4A9C-8950-388027A0B3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04435" y="1789257"/>
            <a:ext cx="796908" cy="796908"/>
          </a:xfrm>
          <a:prstGeom prst="rect">
            <a:avLst/>
          </a:prstGeom>
          <a:ln w="12700">
            <a:miter lim="400000"/>
          </a:ln>
        </p:spPr>
      </p:pic>
      <p:sp>
        <p:nvSpPr>
          <p:cNvPr id="32" name="Charlotte  Derksen">
            <a:extLst>
              <a:ext uri="{FF2B5EF4-FFF2-40B4-BE49-F238E27FC236}">
                <a16:creationId xmlns:a16="http://schemas.microsoft.com/office/drawing/2014/main" id="{057C84DC-BFE2-4E74-BB67-6ECED75771B7}"/>
              </a:ext>
            </a:extLst>
          </p:cNvPr>
          <p:cNvSpPr txBox="1"/>
          <p:nvPr userDrawn="1"/>
        </p:nvSpPr>
        <p:spPr>
          <a:xfrm>
            <a:off x="7990814" y="2162653"/>
            <a:ext cx="557293" cy="4235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/>
          <a:lstStyle/>
          <a:p>
            <a:pPr>
              <a:lnSpc>
                <a:spcPct val="80000"/>
              </a:lnSpc>
              <a:spcBef>
                <a:spcPts val="0"/>
              </a:spcBef>
              <a:defRPr sz="2000" spc="-39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r>
              <a:rPr sz="1000">
                <a:latin typeface="+mn-lt"/>
              </a:rPr>
              <a:t>Charlotte </a:t>
            </a:r>
            <a:br>
              <a:rPr sz="1000">
                <a:latin typeface="+mn-lt"/>
              </a:rPr>
            </a:br>
            <a:r>
              <a:rPr sz="1000">
                <a:latin typeface="+mn-lt"/>
              </a:rPr>
              <a:t>Derksen</a:t>
            </a:r>
          </a:p>
        </p:txBody>
      </p:sp>
      <p:sp>
        <p:nvSpPr>
          <p:cNvPr id="33" name="Marcel  Heskes">
            <a:extLst>
              <a:ext uri="{FF2B5EF4-FFF2-40B4-BE49-F238E27FC236}">
                <a16:creationId xmlns:a16="http://schemas.microsoft.com/office/drawing/2014/main" id="{1C8D4FB7-92FF-4521-9CB4-1064DC0464CE}"/>
              </a:ext>
            </a:extLst>
          </p:cNvPr>
          <p:cNvSpPr txBox="1"/>
          <p:nvPr userDrawn="1"/>
        </p:nvSpPr>
        <p:spPr>
          <a:xfrm>
            <a:off x="6104435" y="2162653"/>
            <a:ext cx="462003" cy="4235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/>
          <a:lstStyle/>
          <a:p>
            <a:pPr>
              <a:lnSpc>
                <a:spcPct val="80000"/>
              </a:lnSpc>
              <a:spcBef>
                <a:spcPts val="0"/>
              </a:spcBef>
              <a:defRPr sz="2000" spc="-39">
                <a:latin typeface="Helvetica"/>
                <a:ea typeface="Helvetica"/>
                <a:cs typeface="Helvetica"/>
                <a:sym typeface="Helvetica"/>
              </a:defRPr>
            </a:pPr>
            <a:r>
              <a:rPr sz="1000">
                <a:latin typeface="+mn-lt"/>
              </a:rPr>
              <a:t>Marcel </a:t>
            </a:r>
            <a:br>
              <a:rPr sz="1000">
                <a:latin typeface="+mn-lt"/>
              </a:rPr>
            </a:br>
            <a:r>
              <a:rPr sz="1000">
                <a:latin typeface="+mn-lt"/>
              </a:rPr>
              <a:t>Heskes</a:t>
            </a:r>
          </a:p>
        </p:txBody>
      </p:sp>
      <p:sp>
        <p:nvSpPr>
          <p:cNvPr id="51" name="Titel 1">
            <a:extLst>
              <a:ext uri="{FF2B5EF4-FFF2-40B4-BE49-F238E27FC236}">
                <a16:creationId xmlns:a16="http://schemas.microsoft.com/office/drawing/2014/main" id="{66F276E5-9E16-45E0-B619-838BCEED86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329" y="1258024"/>
            <a:ext cx="1228335" cy="762136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Ons Team</a:t>
            </a:r>
          </a:p>
        </p:txBody>
      </p:sp>
      <p:sp>
        <p:nvSpPr>
          <p:cNvPr id="54" name="Tijdelijke aanduiding voor tekst 16">
            <a:extLst>
              <a:ext uri="{FF2B5EF4-FFF2-40B4-BE49-F238E27FC236}">
                <a16:creationId xmlns:a16="http://schemas.microsoft.com/office/drawing/2014/main" id="{50AAAAA8-CA72-4907-8768-815713F491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218056" y="17828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4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0" name="Tijdelijke aanduiding voor tekst 16">
            <a:extLst>
              <a:ext uri="{FF2B5EF4-FFF2-40B4-BE49-F238E27FC236}">
                <a16:creationId xmlns:a16="http://schemas.microsoft.com/office/drawing/2014/main" id="{B37D1FB1-A0D4-4B93-88F3-F1221E63136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04435" y="17828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1" name="Tijdelijke aanduiding voor tekst 16">
            <a:extLst>
              <a:ext uri="{FF2B5EF4-FFF2-40B4-BE49-F238E27FC236}">
                <a16:creationId xmlns:a16="http://schemas.microsoft.com/office/drawing/2014/main" id="{90FE78DC-F7B6-4743-A61B-82F07DFE759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990814" y="17828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1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2" name="Tijdelijke aanduiding voor tekst 16">
            <a:extLst>
              <a:ext uri="{FF2B5EF4-FFF2-40B4-BE49-F238E27FC236}">
                <a16:creationId xmlns:a16="http://schemas.microsoft.com/office/drawing/2014/main" id="{C03BA77D-78EB-4522-B147-A1CEB187DDD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877193" y="17828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3" name="Tijdelijke aanduiding voor tekst 16">
            <a:extLst>
              <a:ext uri="{FF2B5EF4-FFF2-40B4-BE49-F238E27FC236}">
                <a16:creationId xmlns:a16="http://schemas.microsoft.com/office/drawing/2014/main" id="{D9304DE9-0D5B-4AF7-A405-5A9832FCC3C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45297" y="3713218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3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4" name="Tijdelijke aanduiding voor tekst 16">
            <a:extLst>
              <a:ext uri="{FF2B5EF4-FFF2-40B4-BE49-F238E27FC236}">
                <a16:creationId xmlns:a16="http://schemas.microsoft.com/office/drawing/2014/main" id="{500595B5-DDA9-4FFB-B8FF-FECB24A00B0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331677" y="3713218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1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5" name="Tijdelijke aanduiding voor tekst 16">
            <a:extLst>
              <a:ext uri="{FF2B5EF4-FFF2-40B4-BE49-F238E27FC236}">
                <a16:creationId xmlns:a16="http://schemas.microsoft.com/office/drawing/2014/main" id="{54DBCFA7-04EC-4945-A983-C67216E4D07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218056" y="3713218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5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6" name="Tijdelijke aanduiding voor tekst 16">
            <a:extLst>
              <a:ext uri="{FF2B5EF4-FFF2-40B4-BE49-F238E27FC236}">
                <a16:creationId xmlns:a16="http://schemas.microsoft.com/office/drawing/2014/main" id="{4C9750C9-C942-4FC4-86DB-BE13B23FB94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6104435" y="3713218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7" name="Tijdelijke aanduiding voor tekst 16">
            <a:extLst>
              <a:ext uri="{FF2B5EF4-FFF2-40B4-BE49-F238E27FC236}">
                <a16:creationId xmlns:a16="http://schemas.microsoft.com/office/drawing/2014/main" id="{F61F0CFD-C77B-4DC6-91C0-B78E34EC7CE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45297" y="56986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8" name="Tijdelijke aanduiding voor tekst 16">
            <a:extLst>
              <a:ext uri="{FF2B5EF4-FFF2-40B4-BE49-F238E27FC236}">
                <a16:creationId xmlns:a16="http://schemas.microsoft.com/office/drawing/2014/main" id="{1ADAD69A-A98C-4148-96B0-018F906DEC87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331677" y="56986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4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79" name="Tijdelijke aanduiding voor tekst 16">
            <a:extLst>
              <a:ext uri="{FF2B5EF4-FFF2-40B4-BE49-F238E27FC236}">
                <a16:creationId xmlns:a16="http://schemas.microsoft.com/office/drawing/2014/main" id="{9797DDC6-B445-435F-9881-246B875F8F3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218056" y="56986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3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0" name="Tijdelijke aanduiding voor tekst 16">
            <a:extLst>
              <a:ext uri="{FF2B5EF4-FFF2-40B4-BE49-F238E27FC236}">
                <a16:creationId xmlns:a16="http://schemas.microsoft.com/office/drawing/2014/main" id="{AFAE847E-864F-431A-BD3F-0C85ABBB75B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104435" y="56986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2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1" name="Tijdelijke aanduiding voor tekst 16">
            <a:extLst>
              <a:ext uri="{FF2B5EF4-FFF2-40B4-BE49-F238E27FC236}">
                <a16:creationId xmlns:a16="http://schemas.microsoft.com/office/drawing/2014/main" id="{8A4A2EA6-4A5E-4B2D-9254-C999369FD4A2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990814" y="3713218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4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2" name="Tijdelijke aanduiding voor tekst 16">
            <a:extLst>
              <a:ext uri="{FF2B5EF4-FFF2-40B4-BE49-F238E27FC236}">
                <a16:creationId xmlns:a16="http://schemas.microsoft.com/office/drawing/2014/main" id="{79FA4C7F-4C64-489A-B20C-B281A788E38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9877193" y="3713218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5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3" name="Tijdelijke aanduiding voor tekst 16">
            <a:extLst>
              <a:ext uri="{FF2B5EF4-FFF2-40B4-BE49-F238E27FC236}">
                <a16:creationId xmlns:a16="http://schemas.microsoft.com/office/drawing/2014/main" id="{951786A5-7AF9-4A6B-862F-7DB95C48A99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990814" y="56986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3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84" name="Tijdelijke aanduiding voor tekst 16">
            <a:extLst>
              <a:ext uri="{FF2B5EF4-FFF2-40B4-BE49-F238E27FC236}">
                <a16:creationId xmlns:a16="http://schemas.microsoft.com/office/drawing/2014/main" id="{F6531E7D-FE5E-4882-80C6-C8EC26A2811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877193" y="56986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1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  <p:sp>
        <p:nvSpPr>
          <p:cNvPr id="42" name="Tijdelijke aanduiding voor datum 4">
            <a:extLst>
              <a:ext uri="{FF2B5EF4-FFF2-40B4-BE49-F238E27FC236}">
                <a16:creationId xmlns:a16="http://schemas.microsoft.com/office/drawing/2014/main" id="{A269BD71-7887-47B1-A76A-8B23708D6348}"/>
              </a:ext>
            </a:extLst>
          </p:cNvPr>
          <p:cNvSpPr>
            <a:spLocks noGrp="1"/>
          </p:cNvSpPr>
          <p:nvPr>
            <p:ph type="dt" sz="half" idx="58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/>
          </a:p>
        </p:txBody>
      </p:sp>
      <p:sp>
        <p:nvSpPr>
          <p:cNvPr id="43" name="Tijdelijke aanduiding voor voettekst 4">
            <a:extLst>
              <a:ext uri="{FF2B5EF4-FFF2-40B4-BE49-F238E27FC236}">
                <a16:creationId xmlns:a16="http://schemas.microsoft.com/office/drawing/2014/main" id="{6A4070D8-396B-47BD-B59A-C3959F25B2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/>
              <a:t>Voettekst</a:t>
            </a:r>
          </a:p>
        </p:txBody>
      </p:sp>
      <p:sp>
        <p:nvSpPr>
          <p:cNvPr id="41" name="Tijdelijke aanduiding voor afbeelding 4">
            <a:extLst>
              <a:ext uri="{FF2B5EF4-FFF2-40B4-BE49-F238E27FC236}">
                <a16:creationId xmlns:a16="http://schemas.microsoft.com/office/drawing/2014/main" id="{38B8FF1F-2BC3-484F-8DA5-CEF2AAD86EDB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2331677" y="813614"/>
            <a:ext cx="1767551" cy="1772552"/>
          </a:xfrm>
          <a:prstGeom prst="round2DiagRect">
            <a:avLst>
              <a:gd name="adj1" fmla="val 42491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52" name="Tijdelijke aanduiding voor tekst 16">
            <a:extLst>
              <a:ext uri="{FF2B5EF4-FFF2-40B4-BE49-F238E27FC236}">
                <a16:creationId xmlns:a16="http://schemas.microsoft.com/office/drawing/2014/main" id="{A16AB5AA-BBB4-45A7-89C0-11DDBB698652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2331677" y="1782842"/>
            <a:ext cx="800548" cy="803323"/>
          </a:xfrm>
          <a:prstGeom prst="round2DiagRect">
            <a:avLst>
              <a:gd name="adj1" fmla="val 36276"/>
              <a:gd name="adj2" fmla="val 0"/>
            </a:avLst>
          </a:prstGeom>
          <a:solidFill>
            <a:schemeClr val="accent5"/>
          </a:solidFill>
        </p:spPr>
        <p:txBody>
          <a:bodyPr anchor="b" anchorCtr="0">
            <a:normAutofit/>
          </a:bodyPr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/>
              <a:t>Naam</a:t>
            </a:r>
          </a:p>
        </p:txBody>
      </p:sp>
    </p:spTree>
    <p:extLst>
      <p:ext uri="{BB962C8B-B14F-4D97-AF65-F5344CB8AC3E}">
        <p14:creationId xmlns:p14="http://schemas.microsoft.com/office/powerpoint/2010/main" val="2057729989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antlogos / partnerlogos grij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B9B63A-A661-4217-A444-F233E10F8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 b="0">
                <a:latin typeface="+mn-lt"/>
              </a:defRPr>
            </a:lvl1pPr>
          </a:lstStyle>
          <a:p>
            <a:r>
              <a:rPr lang="nl-NL" dirty="0"/>
              <a:t>Waar we met trots mee samen en voor 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A7FCD538-5A12-4A25-8F46-4ACCC38D52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A36A292C-E1D0-46AC-B0E3-FB3E061F2C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56329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8" name="Tijdelijke aanduiding voor afbeelding 6">
            <a:extLst>
              <a:ext uri="{FF2B5EF4-FFF2-40B4-BE49-F238E27FC236}">
                <a16:creationId xmlns:a16="http://schemas.microsoft.com/office/drawing/2014/main" id="{9934FC1F-BC41-44A2-B200-F3E64DF3BD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25239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7FB1A6FA-8DF0-4ABB-A553-7B25B4D61A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12632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0" name="Tijdelijke aanduiding voor afbeelding 6">
            <a:extLst>
              <a:ext uri="{FF2B5EF4-FFF2-40B4-BE49-F238E27FC236}">
                <a16:creationId xmlns:a16="http://schemas.microsoft.com/office/drawing/2014/main" id="{E20E2644-8BE8-4DC9-8BC3-45C93B529A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68935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5" name="Tijdelijke aanduiding voor afbeelding 6">
            <a:extLst>
              <a:ext uri="{FF2B5EF4-FFF2-40B4-BE49-F238E27FC236}">
                <a16:creationId xmlns:a16="http://schemas.microsoft.com/office/drawing/2014/main" id="{31E4D92A-AF86-43A9-A743-104A423C174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52908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6" name="Tijdelijke aanduiding voor afbeelding 6">
            <a:extLst>
              <a:ext uri="{FF2B5EF4-FFF2-40B4-BE49-F238E27FC236}">
                <a16:creationId xmlns:a16="http://schemas.microsoft.com/office/drawing/2014/main" id="{1D120308-830A-4C13-87DF-1E9F7A3627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21818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7" name="Tijdelijke aanduiding voor afbeelding 6">
            <a:extLst>
              <a:ext uri="{FF2B5EF4-FFF2-40B4-BE49-F238E27FC236}">
                <a16:creationId xmlns:a16="http://schemas.microsoft.com/office/drawing/2014/main" id="{3883F612-1B06-4822-866A-B1440C58AA3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9211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8" name="Tijdelijke aanduiding voor afbeelding 6">
            <a:extLst>
              <a:ext uri="{FF2B5EF4-FFF2-40B4-BE49-F238E27FC236}">
                <a16:creationId xmlns:a16="http://schemas.microsoft.com/office/drawing/2014/main" id="{C48D043F-1F9F-4101-9A10-E896490CEF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65514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9" name="Tijdelijke aanduiding voor datum 4">
            <a:extLst>
              <a:ext uri="{FF2B5EF4-FFF2-40B4-BE49-F238E27FC236}">
                <a16:creationId xmlns:a16="http://schemas.microsoft.com/office/drawing/2014/main" id="{3F39E1FE-1EA4-44CF-9DE8-27F444CC51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20" name="Tijdelijke aanduiding voor voettekst 4">
            <a:extLst>
              <a:ext uri="{FF2B5EF4-FFF2-40B4-BE49-F238E27FC236}">
                <a16:creationId xmlns:a16="http://schemas.microsoft.com/office/drawing/2014/main" id="{7EF672DA-A8EA-4FE3-A5AA-13B1EBD306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4245879232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antlogos / partnerlogos cyaa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B9B63A-A661-4217-A444-F233E10F8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 b="0">
                <a:latin typeface="+mn-lt"/>
              </a:defRPr>
            </a:lvl1pPr>
          </a:lstStyle>
          <a:p>
            <a:r>
              <a:rPr lang="nl-NL" dirty="0"/>
              <a:t>Waar we met trots mee samen en voor 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A7FCD538-5A12-4A25-8F46-4ACCC38D52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A36A292C-E1D0-46AC-B0E3-FB3E061F2C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56329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8" name="Tijdelijke aanduiding voor afbeelding 6">
            <a:extLst>
              <a:ext uri="{FF2B5EF4-FFF2-40B4-BE49-F238E27FC236}">
                <a16:creationId xmlns:a16="http://schemas.microsoft.com/office/drawing/2014/main" id="{9934FC1F-BC41-44A2-B200-F3E64DF3BD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25239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7FB1A6FA-8DF0-4ABB-A553-7B25B4D61A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12632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0" name="Tijdelijke aanduiding voor afbeelding 6">
            <a:extLst>
              <a:ext uri="{FF2B5EF4-FFF2-40B4-BE49-F238E27FC236}">
                <a16:creationId xmlns:a16="http://schemas.microsoft.com/office/drawing/2014/main" id="{E20E2644-8BE8-4DC9-8BC3-45C93B529A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68935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5" name="Tijdelijke aanduiding voor afbeelding 6">
            <a:extLst>
              <a:ext uri="{FF2B5EF4-FFF2-40B4-BE49-F238E27FC236}">
                <a16:creationId xmlns:a16="http://schemas.microsoft.com/office/drawing/2014/main" id="{31E4D92A-AF86-43A9-A743-104A423C174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52908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6" name="Tijdelijke aanduiding voor afbeelding 6">
            <a:extLst>
              <a:ext uri="{FF2B5EF4-FFF2-40B4-BE49-F238E27FC236}">
                <a16:creationId xmlns:a16="http://schemas.microsoft.com/office/drawing/2014/main" id="{1D120308-830A-4C13-87DF-1E9F7A3627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21818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7" name="Tijdelijke aanduiding voor afbeelding 6">
            <a:extLst>
              <a:ext uri="{FF2B5EF4-FFF2-40B4-BE49-F238E27FC236}">
                <a16:creationId xmlns:a16="http://schemas.microsoft.com/office/drawing/2014/main" id="{3883F612-1B06-4822-866A-B1440C58AA3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9211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8" name="Tijdelijke aanduiding voor afbeelding 6">
            <a:extLst>
              <a:ext uri="{FF2B5EF4-FFF2-40B4-BE49-F238E27FC236}">
                <a16:creationId xmlns:a16="http://schemas.microsoft.com/office/drawing/2014/main" id="{C48D043F-1F9F-4101-9A10-E896490CEF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65514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4" name="Tijdelijke aanduiding voor datum 4">
            <a:extLst>
              <a:ext uri="{FF2B5EF4-FFF2-40B4-BE49-F238E27FC236}">
                <a16:creationId xmlns:a16="http://schemas.microsoft.com/office/drawing/2014/main" id="{11120278-C070-43FB-AF5F-FDA720BA38A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9" name="Tijdelijke aanduiding voor voettekst 4">
            <a:extLst>
              <a:ext uri="{FF2B5EF4-FFF2-40B4-BE49-F238E27FC236}">
                <a16:creationId xmlns:a16="http://schemas.microsoft.com/office/drawing/2014/main" id="{E087BAC2-1B45-4B7B-A1BA-0109C18E02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4694589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antlogos / partnerlogos w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EB9B63A-A661-4217-A444-F233E10F82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 b="0">
                <a:latin typeface="+mn-lt"/>
              </a:defRPr>
            </a:lvl1pPr>
          </a:lstStyle>
          <a:p>
            <a:r>
              <a:rPr lang="nl-NL" dirty="0"/>
              <a:t>Waar we met trots mee samen en voor werke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A7FCD538-5A12-4A25-8F46-4ACCC38D52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7" name="Tijdelijke aanduiding voor afbeelding 6">
            <a:extLst>
              <a:ext uri="{FF2B5EF4-FFF2-40B4-BE49-F238E27FC236}">
                <a16:creationId xmlns:a16="http://schemas.microsoft.com/office/drawing/2014/main" id="{A36A292C-E1D0-46AC-B0E3-FB3E061F2C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56329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8" name="Tijdelijke aanduiding voor afbeelding 6">
            <a:extLst>
              <a:ext uri="{FF2B5EF4-FFF2-40B4-BE49-F238E27FC236}">
                <a16:creationId xmlns:a16="http://schemas.microsoft.com/office/drawing/2014/main" id="{9934FC1F-BC41-44A2-B200-F3E64DF3BD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25239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9" name="Tijdelijke aanduiding voor afbeelding 6">
            <a:extLst>
              <a:ext uri="{FF2B5EF4-FFF2-40B4-BE49-F238E27FC236}">
                <a16:creationId xmlns:a16="http://schemas.microsoft.com/office/drawing/2014/main" id="{7FB1A6FA-8DF0-4ABB-A553-7B25B4D61AA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612632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0" name="Tijdelijke aanduiding voor afbeelding 6">
            <a:extLst>
              <a:ext uri="{FF2B5EF4-FFF2-40B4-BE49-F238E27FC236}">
                <a16:creationId xmlns:a16="http://schemas.microsoft.com/office/drawing/2014/main" id="{E20E2644-8BE8-4DC9-8BC3-45C93B529A4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68935" y="2618616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5" name="Tijdelijke aanduiding voor afbeelding 6">
            <a:extLst>
              <a:ext uri="{FF2B5EF4-FFF2-40B4-BE49-F238E27FC236}">
                <a16:creationId xmlns:a16="http://schemas.microsoft.com/office/drawing/2014/main" id="{31E4D92A-AF86-43A9-A743-104A423C174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52908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6" name="Tijdelijke aanduiding voor afbeelding 6">
            <a:extLst>
              <a:ext uri="{FF2B5EF4-FFF2-40B4-BE49-F238E27FC236}">
                <a16:creationId xmlns:a16="http://schemas.microsoft.com/office/drawing/2014/main" id="{1D120308-830A-4C13-87DF-1E9F7A36274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21818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7" name="Tijdelijke aanduiding voor afbeelding 6">
            <a:extLst>
              <a:ext uri="{FF2B5EF4-FFF2-40B4-BE49-F238E27FC236}">
                <a16:creationId xmlns:a16="http://schemas.microsoft.com/office/drawing/2014/main" id="{3883F612-1B06-4822-866A-B1440C58AA3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609211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8" name="Tijdelijke aanduiding voor afbeelding 6">
            <a:extLst>
              <a:ext uri="{FF2B5EF4-FFF2-40B4-BE49-F238E27FC236}">
                <a16:creationId xmlns:a16="http://schemas.microsoft.com/office/drawing/2014/main" id="{C48D043F-1F9F-4101-9A10-E896490CEF5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65514" y="4438565"/>
            <a:ext cx="2463512" cy="1430338"/>
          </a:xfrm>
        </p:spPr>
        <p:txBody>
          <a:bodyPr/>
          <a:lstStyle/>
          <a:p>
            <a:r>
              <a:rPr lang="nl-NL" dirty="0"/>
              <a:t> </a:t>
            </a:r>
          </a:p>
        </p:txBody>
      </p:sp>
      <p:sp>
        <p:nvSpPr>
          <p:cNvPr id="14" name="Tijdelijke aanduiding voor datum 4">
            <a:extLst>
              <a:ext uri="{FF2B5EF4-FFF2-40B4-BE49-F238E27FC236}">
                <a16:creationId xmlns:a16="http://schemas.microsoft.com/office/drawing/2014/main" id="{927D0419-59ED-4986-B5FB-AE3F0FFD9F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9" name="Tijdelijke aanduiding voor voettekst 4">
            <a:extLst>
              <a:ext uri="{FF2B5EF4-FFF2-40B4-BE49-F238E27FC236}">
                <a16:creationId xmlns:a16="http://schemas.microsoft.com/office/drawing/2014/main" id="{44E473E6-A98A-4B22-BB29-98315FB87E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1033742415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CC67F57-CD61-49A2-8791-5C19F7D0C4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0654" y="419758"/>
            <a:ext cx="10509017" cy="762136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9" name="Tijdelijke aanduiding voor datum 4">
            <a:extLst>
              <a:ext uri="{FF2B5EF4-FFF2-40B4-BE49-F238E27FC236}">
                <a16:creationId xmlns:a16="http://schemas.microsoft.com/office/drawing/2014/main" id="{ED8B6988-E201-4821-9F3C-3B21C3C48F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10" name="Tijdelijke aanduiding voor voettekst 4">
            <a:extLst>
              <a:ext uri="{FF2B5EF4-FFF2-40B4-BE49-F238E27FC236}">
                <a16:creationId xmlns:a16="http://schemas.microsoft.com/office/drawing/2014/main" id="{11EB08A4-3FB6-4C77-916E-C9926C1C71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397330556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9" orient="horz" pos="538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2FA0DC6E-25B9-412E-A918-174FF2789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23E4735-1C1F-424B-B5A9-7C24AB2296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6" name="Tijdelijke aanduiding voor voettekst 4">
            <a:extLst>
              <a:ext uri="{FF2B5EF4-FFF2-40B4-BE49-F238E27FC236}">
                <a16:creationId xmlns:a16="http://schemas.microsoft.com/office/drawing/2014/main" id="{17223F95-961D-417A-B9B8-7CDD96A190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3828080282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7680">
          <p15:clr>
            <a:srgbClr val="FBAE40"/>
          </p15:clr>
        </p15:guide>
        <p15:guide id="3" pos="1080">
          <p15:clr>
            <a:srgbClr val="FBAE40"/>
          </p15:clr>
        </p15:guide>
        <p15:guide id="4" pos="14597">
          <p15:clr>
            <a:srgbClr val="FBAE40"/>
          </p15:clr>
        </p15:guide>
        <p15:guide id="5" orient="horz" pos="2937">
          <p15:clr>
            <a:srgbClr val="FBAE40"/>
          </p15:clr>
        </p15:guide>
        <p15:guide id="6" orient="horz" pos="7881">
          <p15:clr>
            <a:srgbClr val="FBAE40"/>
          </p15:clr>
        </p15:guide>
        <p15:guide id="7" orient="horz" pos="2551">
          <p15:clr>
            <a:srgbClr val="FBAE40"/>
          </p15:clr>
        </p15:guide>
        <p15:guide id="8" orient="horz" pos="1530">
          <p15:clr>
            <a:srgbClr val="FBAE40"/>
          </p15:clr>
        </p15:guide>
        <p15:guide id="9" orient="horz" pos="538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1416589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ded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4">
            <a:extLst>
              <a:ext uri="{FF2B5EF4-FFF2-40B4-BE49-F238E27FC236}">
                <a16:creationId xmlns:a16="http://schemas.microsoft.com/office/drawing/2014/main" id="{59C95FE6-D8BF-4725-ACC6-FB8975F31B9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61463" y="224444"/>
            <a:ext cx="6532926" cy="6459385"/>
          </a:xfrm>
          <a:prstGeom prst="round2DiagRect">
            <a:avLst>
              <a:gd name="adj1" fmla="val 44527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C4B4FD0-60E8-42A7-BBF1-AFDA0A7CE8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88750" y="6852424"/>
            <a:ext cx="405638" cy="271869"/>
          </a:xfrm>
        </p:spPr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Pand Noord…">
            <a:extLst>
              <a:ext uri="{FF2B5EF4-FFF2-40B4-BE49-F238E27FC236}">
                <a16:creationId xmlns:a16="http://schemas.microsoft.com/office/drawing/2014/main" id="{1C503A6F-85C2-4B44-A293-B9FE153D7193}"/>
              </a:ext>
            </a:extLst>
          </p:cNvPr>
          <p:cNvSpPr txBox="1"/>
          <p:nvPr userDrawn="1"/>
        </p:nvSpPr>
        <p:spPr>
          <a:xfrm>
            <a:off x="239374" y="5924582"/>
            <a:ext cx="1504836" cy="743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 err="1"/>
              <a:t>Pand</a:t>
            </a:r>
            <a:r>
              <a:rPr sz="1500"/>
              <a:t> Noord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 err="1"/>
              <a:t>Meeuwenlaan</a:t>
            </a:r>
            <a:r>
              <a:rPr sz="1500"/>
              <a:t> 100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/>
              <a:t>1021 JL Amsterdam</a:t>
            </a:r>
          </a:p>
        </p:txBody>
      </p:sp>
      <p:sp>
        <p:nvSpPr>
          <p:cNvPr id="11" name="+31 (0) 20 447 39 25…">
            <a:extLst>
              <a:ext uri="{FF2B5EF4-FFF2-40B4-BE49-F238E27FC236}">
                <a16:creationId xmlns:a16="http://schemas.microsoft.com/office/drawing/2014/main" id="{CB01E701-D776-49C1-AD9D-8F05749A2957}"/>
              </a:ext>
            </a:extLst>
          </p:cNvPr>
          <p:cNvSpPr txBox="1"/>
          <p:nvPr userDrawn="1"/>
        </p:nvSpPr>
        <p:spPr>
          <a:xfrm>
            <a:off x="2011539" y="5924582"/>
            <a:ext cx="1698094" cy="743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/>
              <a:t>+31 (0) 20 447 39 25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/>
              <a:t>info@squarewise.com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/>
              <a:t>squarewise.com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280E3EE-3C3F-4782-AE3A-9325A183BF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5" y="206685"/>
            <a:ext cx="1082626" cy="1082626"/>
          </a:xfrm>
          <a:prstGeom prst="rect">
            <a:avLst/>
          </a:prstGeom>
        </p:spPr>
      </p:pic>
      <p:sp>
        <p:nvSpPr>
          <p:cNvPr id="13" name="Tijdelijke aanduiding voor datum 4">
            <a:extLst>
              <a:ext uri="{FF2B5EF4-FFF2-40B4-BE49-F238E27FC236}">
                <a16:creationId xmlns:a16="http://schemas.microsoft.com/office/drawing/2014/main" id="{FB78E81C-0E0D-42C6-94AB-735DF66E9C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27347367-9FB0-4D0C-8447-0E9362348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550608582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inde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4">
            <a:extLst>
              <a:ext uri="{FF2B5EF4-FFF2-40B4-BE49-F238E27FC236}">
                <a16:creationId xmlns:a16="http://schemas.microsoft.com/office/drawing/2014/main" id="{59C95FE6-D8BF-4725-ACC6-FB8975F31B9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61463" y="224444"/>
            <a:ext cx="6532926" cy="6459385"/>
          </a:xfrm>
          <a:prstGeom prst="round2DiagRect">
            <a:avLst>
              <a:gd name="adj1" fmla="val 44527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C4B4FD0-60E8-42A7-BBF1-AFDA0A7CE8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88750" y="6852424"/>
            <a:ext cx="405638" cy="271869"/>
          </a:xfrm>
        </p:spPr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Pand Noord…">
            <a:extLst>
              <a:ext uri="{FF2B5EF4-FFF2-40B4-BE49-F238E27FC236}">
                <a16:creationId xmlns:a16="http://schemas.microsoft.com/office/drawing/2014/main" id="{1C503A6F-85C2-4B44-A293-B9FE153D7193}"/>
              </a:ext>
            </a:extLst>
          </p:cNvPr>
          <p:cNvSpPr txBox="1"/>
          <p:nvPr userDrawn="1"/>
        </p:nvSpPr>
        <p:spPr>
          <a:xfrm>
            <a:off x="239374" y="5924582"/>
            <a:ext cx="1504836" cy="743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 err="1">
                <a:solidFill>
                  <a:schemeClr val="bg1"/>
                </a:solidFill>
              </a:rPr>
              <a:t>Pand</a:t>
            </a:r>
            <a:r>
              <a:rPr sz="1500">
                <a:solidFill>
                  <a:schemeClr val="bg1"/>
                </a:solidFill>
              </a:rPr>
              <a:t> Noord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 err="1">
                <a:solidFill>
                  <a:schemeClr val="bg1"/>
                </a:solidFill>
              </a:rPr>
              <a:t>Meeuwenlaan</a:t>
            </a:r>
            <a:r>
              <a:rPr sz="1500">
                <a:solidFill>
                  <a:schemeClr val="bg1"/>
                </a:solidFill>
              </a:rPr>
              <a:t> 100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>
                <a:solidFill>
                  <a:schemeClr val="bg1"/>
                </a:solidFill>
              </a:rPr>
              <a:t>1021 JL Amsterdam</a:t>
            </a:r>
          </a:p>
        </p:txBody>
      </p:sp>
      <p:sp>
        <p:nvSpPr>
          <p:cNvPr id="11" name="+31 (0) 20 447 39 25…">
            <a:extLst>
              <a:ext uri="{FF2B5EF4-FFF2-40B4-BE49-F238E27FC236}">
                <a16:creationId xmlns:a16="http://schemas.microsoft.com/office/drawing/2014/main" id="{CB01E701-D776-49C1-AD9D-8F05749A2957}"/>
              </a:ext>
            </a:extLst>
          </p:cNvPr>
          <p:cNvSpPr txBox="1"/>
          <p:nvPr userDrawn="1"/>
        </p:nvSpPr>
        <p:spPr>
          <a:xfrm>
            <a:off x="2011539" y="5924582"/>
            <a:ext cx="1698094" cy="743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>
                <a:solidFill>
                  <a:schemeClr val="bg1"/>
                </a:solidFill>
              </a:rPr>
              <a:t>+31 (0) 20 447 39 25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>
                <a:solidFill>
                  <a:schemeClr val="bg1"/>
                </a:solidFill>
              </a:rPr>
              <a:t>info@squarewise.com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>
                <a:solidFill>
                  <a:schemeClr val="bg1"/>
                </a:solidFill>
              </a:rPr>
              <a:t>squarewise.com</a:t>
            </a:r>
          </a:p>
        </p:txBody>
      </p:sp>
      <p:sp>
        <p:nvSpPr>
          <p:cNvPr id="13" name="Tijdelijke aanduiding voor datum 4">
            <a:extLst>
              <a:ext uri="{FF2B5EF4-FFF2-40B4-BE49-F238E27FC236}">
                <a16:creationId xmlns:a16="http://schemas.microsoft.com/office/drawing/2014/main" id="{FB78E81C-0E0D-42C6-94AB-735DF66E9C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27347367-9FB0-4D0C-8447-0E9362348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/>
              <a:t>Voettekst</a:t>
            </a:r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9FE2E59C-6BF8-4DA3-B5DC-C5789502E5E3}"/>
              </a:ext>
            </a:extLst>
          </p:cNvPr>
          <p:cNvGrpSpPr/>
          <p:nvPr userDrawn="1"/>
        </p:nvGrpSpPr>
        <p:grpSpPr>
          <a:xfrm>
            <a:off x="183505" y="206685"/>
            <a:ext cx="1082848" cy="1082848"/>
            <a:chOff x="367010" y="413369"/>
            <a:chExt cx="2165696" cy="2165696"/>
          </a:xfrm>
        </p:grpSpPr>
        <p:sp>
          <p:nvSpPr>
            <p:cNvPr id="15" name="Graphic 13">
              <a:extLst>
                <a:ext uri="{FF2B5EF4-FFF2-40B4-BE49-F238E27FC236}">
                  <a16:creationId xmlns:a16="http://schemas.microsoft.com/office/drawing/2014/main" id="{535FE555-2D43-4983-A9EC-1213FC7F8D80}"/>
                </a:ext>
              </a:extLst>
            </p:cNvPr>
            <p:cNvSpPr/>
            <p:nvPr/>
          </p:nvSpPr>
          <p:spPr>
            <a:xfrm>
              <a:off x="367010" y="413369"/>
              <a:ext cx="2165696" cy="2165696"/>
            </a:xfrm>
            <a:custGeom>
              <a:avLst/>
              <a:gdLst>
                <a:gd name="connsiteX0" fmla="*/ 1200912 w 2165696"/>
                <a:gd name="connsiteY0" fmla="*/ 2165697 h 2165696"/>
                <a:gd name="connsiteX1" fmla="*/ 0 w 2165696"/>
                <a:gd name="connsiteY1" fmla="*/ 2165697 h 2165696"/>
                <a:gd name="connsiteX2" fmla="*/ 0 w 2165696"/>
                <a:gd name="connsiteY2" fmla="*/ 964784 h 2165696"/>
                <a:gd name="connsiteX3" fmla="*/ 964784 w 2165696"/>
                <a:gd name="connsiteY3" fmla="*/ 0 h 2165696"/>
                <a:gd name="connsiteX4" fmla="*/ 2165697 w 2165696"/>
                <a:gd name="connsiteY4" fmla="*/ 0 h 2165696"/>
                <a:gd name="connsiteX5" fmla="*/ 2165697 w 2165696"/>
                <a:gd name="connsiteY5" fmla="*/ 1200912 h 2165696"/>
                <a:gd name="connsiteX6" fmla="*/ 1200912 w 2165696"/>
                <a:gd name="connsiteY6" fmla="*/ 2165697 h 216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696" h="2165696">
                  <a:moveTo>
                    <a:pt x="1200912" y="2165697"/>
                  </a:moveTo>
                  <a:lnTo>
                    <a:pt x="0" y="2165697"/>
                  </a:lnTo>
                  <a:lnTo>
                    <a:pt x="0" y="964784"/>
                  </a:lnTo>
                  <a:cubicBezTo>
                    <a:pt x="0" y="431936"/>
                    <a:pt x="431936" y="0"/>
                    <a:pt x="964784" y="0"/>
                  </a:cubicBezTo>
                  <a:lnTo>
                    <a:pt x="2165697" y="0"/>
                  </a:lnTo>
                  <a:lnTo>
                    <a:pt x="2165697" y="1200912"/>
                  </a:lnTo>
                  <a:cubicBezTo>
                    <a:pt x="2165697" y="1733760"/>
                    <a:pt x="1733760" y="2165697"/>
                    <a:pt x="1200912" y="2165697"/>
                  </a:cubicBezTo>
                </a:path>
              </a:pathLst>
            </a:custGeom>
            <a:solidFill>
              <a:schemeClr val="bg1"/>
            </a:solidFill>
            <a:ln w="22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900"/>
            </a:p>
          </p:txBody>
        </p:sp>
        <p:grpSp>
          <p:nvGrpSpPr>
            <p:cNvPr id="16" name="Graphic 13">
              <a:extLst>
                <a:ext uri="{FF2B5EF4-FFF2-40B4-BE49-F238E27FC236}">
                  <a16:creationId xmlns:a16="http://schemas.microsoft.com/office/drawing/2014/main" id="{E68A699C-DCA0-43DD-843D-2D07459953E2}"/>
                </a:ext>
              </a:extLst>
            </p:cNvPr>
            <p:cNvGrpSpPr/>
            <p:nvPr/>
          </p:nvGrpSpPr>
          <p:grpSpPr>
            <a:xfrm>
              <a:off x="610655" y="1130302"/>
              <a:ext cx="1628994" cy="740997"/>
              <a:chOff x="610655" y="1130302"/>
              <a:chExt cx="1628994" cy="740997"/>
            </a:xfrm>
            <a:solidFill>
              <a:schemeClr val="tx1"/>
            </a:solidFill>
          </p:grpSpPr>
          <p:sp>
            <p:nvSpPr>
              <p:cNvPr id="17" name="Graphic 13">
                <a:extLst>
                  <a:ext uri="{FF2B5EF4-FFF2-40B4-BE49-F238E27FC236}">
                    <a16:creationId xmlns:a16="http://schemas.microsoft.com/office/drawing/2014/main" id="{40CFA024-E633-4524-B2E7-B11DFB6F9495}"/>
                  </a:ext>
                </a:extLst>
              </p:cNvPr>
              <p:cNvSpPr/>
              <p:nvPr/>
            </p:nvSpPr>
            <p:spPr>
              <a:xfrm>
                <a:off x="1171083" y="1566053"/>
                <a:ext cx="397284" cy="305246"/>
              </a:xfrm>
              <a:custGeom>
                <a:avLst/>
                <a:gdLst>
                  <a:gd name="connsiteX0" fmla="*/ 397284 w 397284"/>
                  <a:gd name="connsiteY0" fmla="*/ 109933 h 305246"/>
                  <a:gd name="connsiteX1" fmla="*/ 397284 w 397284"/>
                  <a:gd name="connsiteY1" fmla="*/ 192801 h 305246"/>
                  <a:gd name="connsiteX2" fmla="*/ 291695 w 397284"/>
                  <a:gd name="connsiteY2" fmla="*/ 304850 h 305246"/>
                  <a:gd name="connsiteX3" fmla="*/ 204595 w 397284"/>
                  <a:gd name="connsiteY3" fmla="*/ 275446 h 305246"/>
                  <a:gd name="connsiteX4" fmla="*/ 191898 w 397284"/>
                  <a:gd name="connsiteY4" fmla="*/ 275669 h 305246"/>
                  <a:gd name="connsiteX5" fmla="*/ 143781 w 397284"/>
                  <a:gd name="connsiteY5" fmla="*/ 301509 h 305246"/>
                  <a:gd name="connsiteX6" fmla="*/ 15024 w 397284"/>
                  <a:gd name="connsiteY6" fmla="*/ 251610 h 305246"/>
                  <a:gd name="connsiteX7" fmla="*/ 99 w 397284"/>
                  <a:gd name="connsiteY7" fmla="*/ 195474 h 305246"/>
                  <a:gd name="connsiteX8" fmla="*/ 99 w 397284"/>
                  <a:gd name="connsiteY8" fmla="*/ 21942 h 305246"/>
                  <a:gd name="connsiteX9" fmla="*/ 21261 w 397284"/>
                  <a:gd name="connsiteY9" fmla="*/ 780 h 305246"/>
                  <a:gd name="connsiteX10" fmla="*/ 40196 w 397284"/>
                  <a:gd name="connsiteY10" fmla="*/ 780 h 305246"/>
                  <a:gd name="connsiteX11" fmla="*/ 60022 w 397284"/>
                  <a:gd name="connsiteY11" fmla="*/ 20606 h 305246"/>
                  <a:gd name="connsiteX12" fmla="*/ 60022 w 397284"/>
                  <a:gd name="connsiteY12" fmla="*/ 58921 h 305246"/>
                  <a:gd name="connsiteX13" fmla="*/ 60022 w 397284"/>
                  <a:gd name="connsiteY13" fmla="*/ 192801 h 305246"/>
                  <a:gd name="connsiteX14" fmla="*/ 94996 w 397284"/>
                  <a:gd name="connsiteY14" fmla="*/ 245373 h 305246"/>
                  <a:gd name="connsiteX15" fmla="*/ 168953 w 397284"/>
                  <a:gd name="connsiteY15" fmla="*/ 190128 h 305246"/>
                  <a:gd name="connsiteX16" fmla="*/ 168953 w 397284"/>
                  <a:gd name="connsiteY16" fmla="*/ 22165 h 305246"/>
                  <a:gd name="connsiteX17" fmla="*/ 190561 w 397284"/>
                  <a:gd name="connsiteY17" fmla="*/ 557 h 305246"/>
                  <a:gd name="connsiteX18" fmla="*/ 209941 w 397284"/>
                  <a:gd name="connsiteY18" fmla="*/ 557 h 305246"/>
                  <a:gd name="connsiteX19" fmla="*/ 228208 w 397284"/>
                  <a:gd name="connsiteY19" fmla="*/ 18155 h 305246"/>
                  <a:gd name="connsiteX20" fmla="*/ 228431 w 397284"/>
                  <a:gd name="connsiteY20" fmla="*/ 24170 h 305246"/>
                  <a:gd name="connsiteX21" fmla="*/ 228431 w 397284"/>
                  <a:gd name="connsiteY21" fmla="*/ 189905 h 305246"/>
                  <a:gd name="connsiteX22" fmla="*/ 248479 w 397284"/>
                  <a:gd name="connsiteY22" fmla="*/ 237576 h 305246"/>
                  <a:gd name="connsiteX23" fmla="*/ 307288 w 397284"/>
                  <a:gd name="connsiteY23" fmla="*/ 243145 h 305246"/>
                  <a:gd name="connsiteX24" fmla="*/ 337139 w 397284"/>
                  <a:gd name="connsiteY24" fmla="*/ 193692 h 305246"/>
                  <a:gd name="connsiteX25" fmla="*/ 337139 w 397284"/>
                  <a:gd name="connsiteY25" fmla="*/ 23501 h 305246"/>
                  <a:gd name="connsiteX26" fmla="*/ 338698 w 397284"/>
                  <a:gd name="connsiteY26" fmla="*/ 11918 h 305246"/>
                  <a:gd name="connsiteX27" fmla="*/ 354291 w 397284"/>
                  <a:gd name="connsiteY27" fmla="*/ 334 h 305246"/>
                  <a:gd name="connsiteX28" fmla="*/ 380355 w 397284"/>
                  <a:gd name="connsiteY28" fmla="*/ 334 h 305246"/>
                  <a:gd name="connsiteX29" fmla="*/ 397062 w 397284"/>
                  <a:gd name="connsiteY29" fmla="*/ 19492 h 305246"/>
                  <a:gd name="connsiteX30" fmla="*/ 397284 w 397284"/>
                  <a:gd name="connsiteY30" fmla="*/ 109933 h 3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97284" h="305246">
                    <a:moveTo>
                      <a:pt x="397284" y="109933"/>
                    </a:moveTo>
                    <a:lnTo>
                      <a:pt x="397284" y="192801"/>
                    </a:lnTo>
                    <a:cubicBezTo>
                      <a:pt x="397284" y="255397"/>
                      <a:pt x="354291" y="301063"/>
                      <a:pt x="291695" y="304850"/>
                    </a:cubicBezTo>
                    <a:cubicBezTo>
                      <a:pt x="258503" y="306855"/>
                      <a:pt x="229099" y="298613"/>
                      <a:pt x="204595" y="275446"/>
                    </a:cubicBezTo>
                    <a:cubicBezTo>
                      <a:pt x="200140" y="271213"/>
                      <a:pt x="197244" y="271436"/>
                      <a:pt x="191898" y="275669"/>
                    </a:cubicBezTo>
                    <a:cubicBezTo>
                      <a:pt x="177418" y="287252"/>
                      <a:pt x="161825" y="296831"/>
                      <a:pt x="143781" y="301509"/>
                    </a:cubicBezTo>
                    <a:cubicBezTo>
                      <a:pt x="96778" y="313315"/>
                      <a:pt x="40865" y="297277"/>
                      <a:pt x="15024" y="251610"/>
                    </a:cubicBezTo>
                    <a:cubicBezTo>
                      <a:pt x="5223" y="234235"/>
                      <a:pt x="99" y="215300"/>
                      <a:pt x="99" y="195474"/>
                    </a:cubicBezTo>
                    <a:cubicBezTo>
                      <a:pt x="-124" y="137556"/>
                      <a:pt x="99" y="79860"/>
                      <a:pt x="99" y="21942"/>
                    </a:cubicBezTo>
                    <a:cubicBezTo>
                      <a:pt x="99" y="7685"/>
                      <a:pt x="7005" y="1002"/>
                      <a:pt x="21261" y="780"/>
                    </a:cubicBezTo>
                    <a:cubicBezTo>
                      <a:pt x="27499" y="780"/>
                      <a:pt x="33959" y="780"/>
                      <a:pt x="40196" y="780"/>
                    </a:cubicBezTo>
                    <a:cubicBezTo>
                      <a:pt x="52671" y="1002"/>
                      <a:pt x="59799" y="7908"/>
                      <a:pt x="60022" y="20606"/>
                    </a:cubicBezTo>
                    <a:cubicBezTo>
                      <a:pt x="60245" y="33303"/>
                      <a:pt x="60022" y="46223"/>
                      <a:pt x="60022" y="58921"/>
                    </a:cubicBezTo>
                    <a:cubicBezTo>
                      <a:pt x="60022" y="103473"/>
                      <a:pt x="60022" y="148248"/>
                      <a:pt x="60022" y="192801"/>
                    </a:cubicBezTo>
                    <a:cubicBezTo>
                      <a:pt x="60022" y="217973"/>
                      <a:pt x="73165" y="238467"/>
                      <a:pt x="94996" y="245373"/>
                    </a:cubicBezTo>
                    <a:cubicBezTo>
                      <a:pt x="131306" y="257179"/>
                      <a:pt x="168953" y="237131"/>
                      <a:pt x="168953" y="190128"/>
                    </a:cubicBezTo>
                    <a:cubicBezTo>
                      <a:pt x="169176" y="134214"/>
                      <a:pt x="168953" y="78301"/>
                      <a:pt x="168953" y="22165"/>
                    </a:cubicBezTo>
                    <a:cubicBezTo>
                      <a:pt x="168953" y="6794"/>
                      <a:pt x="175190" y="557"/>
                      <a:pt x="190561" y="557"/>
                    </a:cubicBezTo>
                    <a:cubicBezTo>
                      <a:pt x="197021" y="557"/>
                      <a:pt x="203481" y="334"/>
                      <a:pt x="209941" y="557"/>
                    </a:cubicBezTo>
                    <a:cubicBezTo>
                      <a:pt x="220857" y="1002"/>
                      <a:pt x="227317" y="7017"/>
                      <a:pt x="228208" y="18155"/>
                    </a:cubicBezTo>
                    <a:cubicBezTo>
                      <a:pt x="228431" y="20160"/>
                      <a:pt x="228431" y="22165"/>
                      <a:pt x="228431" y="24170"/>
                    </a:cubicBezTo>
                    <a:cubicBezTo>
                      <a:pt x="228431" y="80083"/>
                      <a:pt x="228431" y="133769"/>
                      <a:pt x="228431" y="189905"/>
                    </a:cubicBezTo>
                    <a:cubicBezTo>
                      <a:pt x="228431" y="207949"/>
                      <a:pt x="233331" y="226438"/>
                      <a:pt x="248479" y="237576"/>
                    </a:cubicBezTo>
                    <a:cubicBezTo>
                      <a:pt x="266746" y="251165"/>
                      <a:pt x="287017" y="252278"/>
                      <a:pt x="307288" y="243145"/>
                    </a:cubicBezTo>
                    <a:cubicBezTo>
                      <a:pt x="328005" y="233789"/>
                      <a:pt x="336916" y="215745"/>
                      <a:pt x="337139" y="193692"/>
                    </a:cubicBezTo>
                    <a:cubicBezTo>
                      <a:pt x="337584" y="137110"/>
                      <a:pt x="337361" y="80306"/>
                      <a:pt x="337139" y="23501"/>
                    </a:cubicBezTo>
                    <a:cubicBezTo>
                      <a:pt x="337139" y="19492"/>
                      <a:pt x="337361" y="15705"/>
                      <a:pt x="338698" y="11918"/>
                    </a:cubicBezTo>
                    <a:cubicBezTo>
                      <a:pt x="341148" y="4567"/>
                      <a:pt x="346717" y="780"/>
                      <a:pt x="354291" y="334"/>
                    </a:cubicBezTo>
                    <a:cubicBezTo>
                      <a:pt x="362979" y="-111"/>
                      <a:pt x="371667" y="-111"/>
                      <a:pt x="380355" y="334"/>
                    </a:cubicBezTo>
                    <a:cubicBezTo>
                      <a:pt x="390824" y="1002"/>
                      <a:pt x="397062" y="8354"/>
                      <a:pt x="397062" y="19492"/>
                    </a:cubicBezTo>
                    <a:cubicBezTo>
                      <a:pt x="397284" y="49787"/>
                      <a:pt x="397284" y="79860"/>
                      <a:pt x="397284" y="109933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8" name="Graphic 13">
                <a:extLst>
                  <a:ext uri="{FF2B5EF4-FFF2-40B4-BE49-F238E27FC236}">
                    <a16:creationId xmlns:a16="http://schemas.microsoft.com/office/drawing/2014/main" id="{90EFC42B-3C03-43D2-9DEF-4A5415CD0598}"/>
                  </a:ext>
                </a:extLst>
              </p:cNvPr>
              <p:cNvSpPr/>
              <p:nvPr/>
            </p:nvSpPr>
            <p:spPr>
              <a:xfrm>
                <a:off x="859760" y="1137519"/>
                <a:ext cx="244815" cy="449808"/>
              </a:xfrm>
              <a:custGeom>
                <a:avLst/>
                <a:gdLst>
                  <a:gd name="connsiteX0" fmla="*/ 244816 w 244815"/>
                  <a:gd name="connsiteY0" fmla="*/ 225041 h 449808"/>
                  <a:gd name="connsiteX1" fmla="*/ 244816 w 244815"/>
                  <a:gd name="connsiteY1" fmla="*/ 427977 h 449808"/>
                  <a:gd name="connsiteX2" fmla="*/ 223208 w 244815"/>
                  <a:gd name="connsiteY2" fmla="*/ 449808 h 449808"/>
                  <a:gd name="connsiteX3" fmla="*/ 207615 w 244815"/>
                  <a:gd name="connsiteY3" fmla="*/ 449808 h 449808"/>
                  <a:gd name="connsiteX4" fmla="*/ 184893 w 244815"/>
                  <a:gd name="connsiteY4" fmla="*/ 426864 h 449808"/>
                  <a:gd name="connsiteX5" fmla="*/ 184893 w 244815"/>
                  <a:gd name="connsiteY5" fmla="*/ 309691 h 449808"/>
                  <a:gd name="connsiteX6" fmla="*/ 184893 w 244815"/>
                  <a:gd name="connsiteY6" fmla="*/ 306349 h 449808"/>
                  <a:gd name="connsiteX7" fmla="*/ 176428 w 244815"/>
                  <a:gd name="connsiteY7" fmla="*/ 297884 h 449808"/>
                  <a:gd name="connsiteX8" fmla="*/ 110936 w 244815"/>
                  <a:gd name="connsiteY8" fmla="*/ 297884 h 449808"/>
                  <a:gd name="connsiteX9" fmla="*/ 0 w 244815"/>
                  <a:gd name="connsiteY9" fmla="*/ 186948 h 449808"/>
                  <a:gd name="connsiteX10" fmla="*/ 0 w 244815"/>
                  <a:gd name="connsiteY10" fmla="*/ 110318 h 449808"/>
                  <a:gd name="connsiteX11" fmla="*/ 101134 w 244815"/>
                  <a:gd name="connsiteY11" fmla="*/ 942 h 449808"/>
                  <a:gd name="connsiteX12" fmla="*/ 173309 w 244815"/>
                  <a:gd name="connsiteY12" fmla="*/ 273 h 449808"/>
                  <a:gd name="connsiteX13" fmla="*/ 223876 w 244815"/>
                  <a:gd name="connsiteY13" fmla="*/ 273 h 449808"/>
                  <a:gd name="connsiteX14" fmla="*/ 244816 w 244815"/>
                  <a:gd name="connsiteY14" fmla="*/ 20990 h 449808"/>
                  <a:gd name="connsiteX15" fmla="*/ 244816 w 244815"/>
                  <a:gd name="connsiteY15" fmla="*/ 225041 h 449808"/>
                  <a:gd name="connsiteX16" fmla="*/ 184893 w 244815"/>
                  <a:gd name="connsiteY16" fmla="*/ 148856 h 449808"/>
                  <a:gd name="connsiteX17" fmla="*/ 184893 w 244815"/>
                  <a:gd name="connsiteY17" fmla="*/ 64429 h 449808"/>
                  <a:gd name="connsiteX18" fmla="*/ 177764 w 244815"/>
                  <a:gd name="connsiteY18" fmla="*/ 56410 h 449808"/>
                  <a:gd name="connsiteX19" fmla="*/ 111604 w 244815"/>
                  <a:gd name="connsiteY19" fmla="*/ 56410 h 449808"/>
                  <a:gd name="connsiteX20" fmla="*/ 59923 w 244815"/>
                  <a:gd name="connsiteY20" fmla="*/ 105640 h 449808"/>
                  <a:gd name="connsiteX21" fmla="*/ 59700 w 244815"/>
                  <a:gd name="connsiteY21" fmla="*/ 188285 h 449808"/>
                  <a:gd name="connsiteX22" fmla="*/ 116728 w 244815"/>
                  <a:gd name="connsiteY22" fmla="*/ 240857 h 449808"/>
                  <a:gd name="connsiteX23" fmla="*/ 174423 w 244815"/>
                  <a:gd name="connsiteY23" fmla="*/ 240857 h 449808"/>
                  <a:gd name="connsiteX24" fmla="*/ 184670 w 244815"/>
                  <a:gd name="connsiteY24" fmla="*/ 230833 h 449808"/>
                  <a:gd name="connsiteX25" fmla="*/ 184670 w 244815"/>
                  <a:gd name="connsiteY25" fmla="*/ 148856 h 449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44815" h="449808">
                    <a:moveTo>
                      <a:pt x="244816" y="225041"/>
                    </a:moveTo>
                    <a:lnTo>
                      <a:pt x="244816" y="427977"/>
                    </a:lnTo>
                    <a:cubicBezTo>
                      <a:pt x="244816" y="443125"/>
                      <a:pt x="238356" y="449585"/>
                      <a:pt x="223208" y="449808"/>
                    </a:cubicBezTo>
                    <a:cubicBezTo>
                      <a:pt x="218084" y="449808"/>
                      <a:pt x="212738" y="449808"/>
                      <a:pt x="207615" y="449808"/>
                    </a:cubicBezTo>
                    <a:cubicBezTo>
                      <a:pt x="191130" y="449808"/>
                      <a:pt x="184893" y="443348"/>
                      <a:pt x="184893" y="426864"/>
                    </a:cubicBezTo>
                    <a:cubicBezTo>
                      <a:pt x="184893" y="387880"/>
                      <a:pt x="184893" y="348674"/>
                      <a:pt x="184893" y="309691"/>
                    </a:cubicBezTo>
                    <a:cubicBezTo>
                      <a:pt x="184893" y="308577"/>
                      <a:pt x="184893" y="307463"/>
                      <a:pt x="184893" y="306349"/>
                    </a:cubicBezTo>
                    <a:cubicBezTo>
                      <a:pt x="184893" y="299221"/>
                      <a:pt x="183556" y="297884"/>
                      <a:pt x="176428" y="297884"/>
                    </a:cubicBezTo>
                    <a:cubicBezTo>
                      <a:pt x="154597" y="297884"/>
                      <a:pt x="132766" y="297884"/>
                      <a:pt x="110936" y="297884"/>
                    </a:cubicBezTo>
                    <a:cubicBezTo>
                      <a:pt x="48562" y="297884"/>
                      <a:pt x="0" y="249322"/>
                      <a:pt x="0" y="186948"/>
                    </a:cubicBezTo>
                    <a:cubicBezTo>
                      <a:pt x="0" y="161331"/>
                      <a:pt x="0" y="135713"/>
                      <a:pt x="0" y="110318"/>
                    </a:cubicBezTo>
                    <a:cubicBezTo>
                      <a:pt x="0" y="51732"/>
                      <a:pt x="42770" y="5397"/>
                      <a:pt x="101134" y="942"/>
                    </a:cubicBezTo>
                    <a:cubicBezTo>
                      <a:pt x="125192" y="-840"/>
                      <a:pt x="149251" y="496"/>
                      <a:pt x="173309" y="273"/>
                    </a:cubicBezTo>
                    <a:cubicBezTo>
                      <a:pt x="190239" y="51"/>
                      <a:pt x="206946" y="273"/>
                      <a:pt x="223876" y="273"/>
                    </a:cubicBezTo>
                    <a:cubicBezTo>
                      <a:pt x="237910" y="273"/>
                      <a:pt x="244816" y="7179"/>
                      <a:pt x="244816" y="20990"/>
                    </a:cubicBezTo>
                    <a:cubicBezTo>
                      <a:pt x="244816" y="88710"/>
                      <a:pt x="244816" y="156875"/>
                      <a:pt x="244816" y="225041"/>
                    </a:cubicBezTo>
                    <a:moveTo>
                      <a:pt x="184893" y="148856"/>
                    </a:moveTo>
                    <a:cubicBezTo>
                      <a:pt x="184893" y="120788"/>
                      <a:pt x="184893" y="92497"/>
                      <a:pt x="184893" y="64429"/>
                    </a:cubicBezTo>
                    <a:cubicBezTo>
                      <a:pt x="184893" y="57969"/>
                      <a:pt x="183556" y="56410"/>
                      <a:pt x="177764" y="56410"/>
                    </a:cubicBezTo>
                    <a:cubicBezTo>
                      <a:pt x="155711" y="56410"/>
                      <a:pt x="133658" y="55964"/>
                      <a:pt x="111604" y="56410"/>
                    </a:cubicBezTo>
                    <a:cubicBezTo>
                      <a:pt x="84650" y="57078"/>
                      <a:pt x="61705" y="78686"/>
                      <a:pt x="59923" y="105640"/>
                    </a:cubicBezTo>
                    <a:cubicBezTo>
                      <a:pt x="58141" y="133263"/>
                      <a:pt x="58364" y="160885"/>
                      <a:pt x="59700" y="188285"/>
                    </a:cubicBezTo>
                    <a:cubicBezTo>
                      <a:pt x="61260" y="221922"/>
                      <a:pt x="83090" y="240857"/>
                      <a:pt x="116728" y="240857"/>
                    </a:cubicBezTo>
                    <a:cubicBezTo>
                      <a:pt x="135885" y="240857"/>
                      <a:pt x="155265" y="240857"/>
                      <a:pt x="174423" y="240857"/>
                    </a:cubicBezTo>
                    <a:cubicBezTo>
                      <a:pt x="184002" y="240857"/>
                      <a:pt x="184670" y="240189"/>
                      <a:pt x="184670" y="230833"/>
                    </a:cubicBezTo>
                    <a:lnTo>
                      <a:pt x="184670" y="148856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9" name="Graphic 13">
                <a:extLst>
                  <a:ext uri="{FF2B5EF4-FFF2-40B4-BE49-F238E27FC236}">
                    <a16:creationId xmlns:a16="http://schemas.microsoft.com/office/drawing/2014/main" id="{9253C848-4439-4E01-AB8B-2F1CC2894A8E}"/>
                  </a:ext>
                </a:extLst>
              </p:cNvPr>
              <p:cNvSpPr/>
              <p:nvPr/>
            </p:nvSpPr>
            <p:spPr>
              <a:xfrm>
                <a:off x="1483718" y="1137124"/>
                <a:ext cx="244815" cy="304629"/>
              </a:xfrm>
              <a:custGeom>
                <a:avLst/>
                <a:gdLst>
                  <a:gd name="connsiteX0" fmla="*/ 244816 w 244815"/>
                  <a:gd name="connsiteY0" fmla="*/ 149028 h 304629"/>
                  <a:gd name="connsiteX1" fmla="*/ 244816 w 244815"/>
                  <a:gd name="connsiteY1" fmla="*/ 275334 h 304629"/>
                  <a:gd name="connsiteX2" fmla="*/ 222317 w 244815"/>
                  <a:gd name="connsiteY2" fmla="*/ 298056 h 304629"/>
                  <a:gd name="connsiteX3" fmla="*/ 205610 w 244815"/>
                  <a:gd name="connsiteY3" fmla="*/ 298056 h 304629"/>
                  <a:gd name="connsiteX4" fmla="*/ 184893 w 244815"/>
                  <a:gd name="connsiteY4" fmla="*/ 279567 h 304629"/>
                  <a:gd name="connsiteX5" fmla="*/ 181997 w 244815"/>
                  <a:gd name="connsiteY5" fmla="*/ 273998 h 304629"/>
                  <a:gd name="connsiteX6" fmla="*/ 176428 w 244815"/>
                  <a:gd name="connsiteY6" fmla="*/ 276448 h 304629"/>
                  <a:gd name="connsiteX7" fmla="*/ 126084 w 244815"/>
                  <a:gd name="connsiteY7" fmla="*/ 302957 h 304629"/>
                  <a:gd name="connsiteX8" fmla="*/ 50344 w 244815"/>
                  <a:gd name="connsiteY8" fmla="*/ 289146 h 304629"/>
                  <a:gd name="connsiteX9" fmla="*/ 2450 w 244815"/>
                  <a:gd name="connsiteY9" fmla="*/ 213406 h 304629"/>
                  <a:gd name="connsiteX10" fmla="*/ 0 w 244815"/>
                  <a:gd name="connsiteY10" fmla="*/ 186452 h 304629"/>
                  <a:gd name="connsiteX11" fmla="*/ 0 w 244815"/>
                  <a:gd name="connsiteY11" fmla="*/ 124747 h 304629"/>
                  <a:gd name="connsiteX12" fmla="*/ 107372 w 244815"/>
                  <a:gd name="connsiteY12" fmla="*/ 1114 h 304629"/>
                  <a:gd name="connsiteX13" fmla="*/ 123410 w 244815"/>
                  <a:gd name="connsiteY13" fmla="*/ 0 h 304629"/>
                  <a:gd name="connsiteX14" fmla="*/ 222317 w 244815"/>
                  <a:gd name="connsiteY14" fmla="*/ 0 h 304629"/>
                  <a:gd name="connsiteX15" fmla="*/ 244816 w 244815"/>
                  <a:gd name="connsiteY15" fmla="*/ 22722 h 304629"/>
                  <a:gd name="connsiteX16" fmla="*/ 244816 w 244815"/>
                  <a:gd name="connsiteY16" fmla="*/ 149028 h 304629"/>
                  <a:gd name="connsiteX17" fmla="*/ 184893 w 244815"/>
                  <a:gd name="connsiteY17" fmla="*/ 122965 h 304629"/>
                  <a:gd name="connsiteX18" fmla="*/ 185116 w 244815"/>
                  <a:gd name="connsiteY18" fmla="*/ 122965 h 304629"/>
                  <a:gd name="connsiteX19" fmla="*/ 185116 w 244815"/>
                  <a:gd name="connsiteY19" fmla="*/ 64601 h 304629"/>
                  <a:gd name="connsiteX20" fmla="*/ 177987 w 244815"/>
                  <a:gd name="connsiteY20" fmla="*/ 56582 h 304629"/>
                  <a:gd name="connsiteX21" fmla="*/ 124079 w 244815"/>
                  <a:gd name="connsiteY21" fmla="*/ 56582 h 304629"/>
                  <a:gd name="connsiteX22" fmla="*/ 60591 w 244815"/>
                  <a:gd name="connsiteY22" fmla="*/ 116505 h 304629"/>
                  <a:gd name="connsiteX23" fmla="*/ 60146 w 244815"/>
                  <a:gd name="connsiteY23" fmla="*/ 196031 h 304629"/>
                  <a:gd name="connsiteX24" fmla="*/ 81531 w 244815"/>
                  <a:gd name="connsiteY24" fmla="*/ 237910 h 304629"/>
                  <a:gd name="connsiteX25" fmla="*/ 134326 w 244815"/>
                  <a:gd name="connsiteY25" fmla="*/ 245930 h 304629"/>
                  <a:gd name="connsiteX26" fmla="*/ 185116 w 244815"/>
                  <a:gd name="connsiteY26" fmla="*/ 181329 h 304629"/>
                  <a:gd name="connsiteX27" fmla="*/ 184893 w 244815"/>
                  <a:gd name="connsiteY27" fmla="*/ 122965 h 304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44815" h="304629">
                    <a:moveTo>
                      <a:pt x="244816" y="149028"/>
                    </a:moveTo>
                    <a:cubicBezTo>
                      <a:pt x="244816" y="191130"/>
                      <a:pt x="244816" y="233232"/>
                      <a:pt x="244816" y="275334"/>
                    </a:cubicBezTo>
                    <a:cubicBezTo>
                      <a:pt x="244816" y="291596"/>
                      <a:pt x="238579" y="298056"/>
                      <a:pt x="222317" y="298056"/>
                    </a:cubicBezTo>
                    <a:cubicBezTo>
                      <a:pt x="216748" y="298056"/>
                      <a:pt x="211179" y="298056"/>
                      <a:pt x="205610" y="298056"/>
                    </a:cubicBezTo>
                    <a:cubicBezTo>
                      <a:pt x="193581" y="298056"/>
                      <a:pt x="186229" y="291596"/>
                      <a:pt x="184893" y="279567"/>
                    </a:cubicBezTo>
                    <a:cubicBezTo>
                      <a:pt x="184670" y="277339"/>
                      <a:pt x="184447" y="275112"/>
                      <a:pt x="181997" y="273998"/>
                    </a:cubicBezTo>
                    <a:cubicBezTo>
                      <a:pt x="179324" y="272884"/>
                      <a:pt x="177764" y="274889"/>
                      <a:pt x="176428" y="276448"/>
                    </a:cubicBezTo>
                    <a:cubicBezTo>
                      <a:pt x="163508" y="292487"/>
                      <a:pt x="145909" y="300061"/>
                      <a:pt x="126084" y="302957"/>
                    </a:cubicBezTo>
                    <a:cubicBezTo>
                      <a:pt x="99352" y="306967"/>
                      <a:pt x="73512" y="304294"/>
                      <a:pt x="50344" y="289146"/>
                    </a:cubicBezTo>
                    <a:cubicBezTo>
                      <a:pt x="22722" y="271325"/>
                      <a:pt x="8910" y="244816"/>
                      <a:pt x="2450" y="213406"/>
                    </a:cubicBezTo>
                    <a:cubicBezTo>
                      <a:pt x="668" y="204496"/>
                      <a:pt x="0" y="195363"/>
                      <a:pt x="0" y="186452"/>
                    </a:cubicBezTo>
                    <a:cubicBezTo>
                      <a:pt x="223" y="165958"/>
                      <a:pt x="0" y="145241"/>
                      <a:pt x="0" y="124747"/>
                    </a:cubicBezTo>
                    <a:cubicBezTo>
                      <a:pt x="0" y="60814"/>
                      <a:pt x="44107" y="10024"/>
                      <a:pt x="107372" y="1114"/>
                    </a:cubicBezTo>
                    <a:cubicBezTo>
                      <a:pt x="112718" y="446"/>
                      <a:pt x="118064" y="0"/>
                      <a:pt x="123410" y="0"/>
                    </a:cubicBezTo>
                    <a:cubicBezTo>
                      <a:pt x="156379" y="0"/>
                      <a:pt x="189348" y="0"/>
                      <a:pt x="222317" y="0"/>
                    </a:cubicBezTo>
                    <a:cubicBezTo>
                      <a:pt x="238356" y="0"/>
                      <a:pt x="244816" y="6460"/>
                      <a:pt x="244816" y="22722"/>
                    </a:cubicBezTo>
                    <a:cubicBezTo>
                      <a:pt x="244816" y="64824"/>
                      <a:pt x="244816" y="106926"/>
                      <a:pt x="244816" y="149028"/>
                    </a:cubicBezTo>
                    <a:moveTo>
                      <a:pt x="184893" y="122965"/>
                    </a:moveTo>
                    <a:lnTo>
                      <a:pt x="185116" y="122965"/>
                    </a:lnTo>
                    <a:cubicBezTo>
                      <a:pt x="185116" y="103585"/>
                      <a:pt x="185116" y="83981"/>
                      <a:pt x="185116" y="64601"/>
                    </a:cubicBezTo>
                    <a:cubicBezTo>
                      <a:pt x="185116" y="58141"/>
                      <a:pt x="183556" y="56582"/>
                      <a:pt x="177987" y="56582"/>
                    </a:cubicBezTo>
                    <a:cubicBezTo>
                      <a:pt x="159943" y="56582"/>
                      <a:pt x="142122" y="56136"/>
                      <a:pt x="124079" y="56582"/>
                    </a:cubicBezTo>
                    <a:cubicBezTo>
                      <a:pt x="90219" y="57473"/>
                      <a:pt x="63042" y="82645"/>
                      <a:pt x="60591" y="116505"/>
                    </a:cubicBezTo>
                    <a:cubicBezTo>
                      <a:pt x="58586" y="143014"/>
                      <a:pt x="59700" y="169522"/>
                      <a:pt x="60146" y="196031"/>
                    </a:cubicBezTo>
                    <a:cubicBezTo>
                      <a:pt x="60591" y="212961"/>
                      <a:pt x="67274" y="227886"/>
                      <a:pt x="81531" y="237910"/>
                    </a:cubicBezTo>
                    <a:cubicBezTo>
                      <a:pt x="97570" y="249494"/>
                      <a:pt x="115836" y="249940"/>
                      <a:pt x="134326" y="245930"/>
                    </a:cubicBezTo>
                    <a:cubicBezTo>
                      <a:pt x="162839" y="239470"/>
                      <a:pt x="184002" y="212293"/>
                      <a:pt x="185116" y="181329"/>
                    </a:cubicBezTo>
                    <a:cubicBezTo>
                      <a:pt x="185338" y="161948"/>
                      <a:pt x="184893" y="142345"/>
                      <a:pt x="184893" y="122965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0" name="Graphic 13">
                <a:extLst>
                  <a:ext uri="{FF2B5EF4-FFF2-40B4-BE49-F238E27FC236}">
                    <a16:creationId xmlns:a16="http://schemas.microsoft.com/office/drawing/2014/main" id="{2E14E868-6DC7-4C1F-B7AF-ADD86888F66E}"/>
                  </a:ext>
                </a:extLst>
              </p:cNvPr>
              <p:cNvSpPr/>
              <p:nvPr/>
            </p:nvSpPr>
            <p:spPr>
              <a:xfrm>
                <a:off x="2004481" y="1559621"/>
                <a:ext cx="235169" cy="311281"/>
              </a:xfrm>
              <a:custGeom>
                <a:avLst/>
                <a:gdLst>
                  <a:gd name="connsiteX0" fmla="*/ 142178 w 235169"/>
                  <a:gd name="connsiteY0" fmla="*/ 177180 h 311281"/>
                  <a:gd name="connsiteX1" fmla="*/ 69335 w 235169"/>
                  <a:gd name="connsiteY1" fmla="*/ 177180 h 311281"/>
                  <a:gd name="connsiteX2" fmla="*/ 60424 w 235169"/>
                  <a:gd name="connsiteY2" fmla="*/ 186313 h 311281"/>
                  <a:gd name="connsiteX3" fmla="*/ 63098 w 235169"/>
                  <a:gd name="connsiteY3" fmla="*/ 215495 h 311281"/>
                  <a:gd name="connsiteX4" fmla="*/ 117229 w 235169"/>
                  <a:gd name="connsiteY4" fmla="*/ 255146 h 311281"/>
                  <a:gd name="connsiteX5" fmla="*/ 182053 w 235169"/>
                  <a:gd name="connsiteY5" fmla="*/ 229306 h 311281"/>
                  <a:gd name="connsiteX6" fmla="*/ 210343 w 235169"/>
                  <a:gd name="connsiteY6" fmla="*/ 228861 h 311281"/>
                  <a:gd name="connsiteX7" fmla="*/ 221036 w 235169"/>
                  <a:gd name="connsiteY7" fmla="*/ 238439 h 311281"/>
                  <a:gd name="connsiteX8" fmla="*/ 224377 w 235169"/>
                  <a:gd name="connsiteY8" fmla="*/ 264280 h 311281"/>
                  <a:gd name="connsiteX9" fmla="*/ 217249 w 235169"/>
                  <a:gd name="connsiteY9" fmla="*/ 272745 h 311281"/>
                  <a:gd name="connsiteX10" fmla="*/ 130595 w 235169"/>
                  <a:gd name="connsiteY10" fmla="*/ 311060 h 311281"/>
                  <a:gd name="connsiteX11" fmla="*/ 42158 w 235169"/>
                  <a:gd name="connsiteY11" fmla="*/ 285219 h 311281"/>
                  <a:gd name="connsiteX12" fmla="*/ 501 w 235169"/>
                  <a:gd name="connsiteY12" fmla="*/ 198565 h 311281"/>
                  <a:gd name="connsiteX13" fmla="*/ 501 w 235169"/>
                  <a:gd name="connsiteY13" fmla="*/ 114138 h 311281"/>
                  <a:gd name="connsiteX14" fmla="*/ 68444 w 235169"/>
                  <a:gd name="connsiteY14" fmla="*/ 8994 h 311281"/>
                  <a:gd name="connsiteX15" fmla="*/ 211457 w 235169"/>
                  <a:gd name="connsiteY15" fmla="*/ 44191 h 311281"/>
                  <a:gd name="connsiteX16" fmla="*/ 235070 w 235169"/>
                  <a:gd name="connsiteY16" fmla="*/ 113247 h 311281"/>
                  <a:gd name="connsiteX17" fmla="*/ 235070 w 235169"/>
                  <a:gd name="connsiteY17" fmla="*/ 156686 h 311281"/>
                  <a:gd name="connsiteX18" fmla="*/ 214576 w 235169"/>
                  <a:gd name="connsiteY18" fmla="*/ 177180 h 311281"/>
                  <a:gd name="connsiteX19" fmla="*/ 142178 w 235169"/>
                  <a:gd name="connsiteY19" fmla="*/ 177180 h 311281"/>
                  <a:gd name="connsiteX20" fmla="*/ 117674 w 235169"/>
                  <a:gd name="connsiteY20" fmla="*/ 127281 h 311281"/>
                  <a:gd name="connsiteX21" fmla="*/ 168241 w 235169"/>
                  <a:gd name="connsiteY21" fmla="*/ 127281 h 311281"/>
                  <a:gd name="connsiteX22" fmla="*/ 175815 w 235169"/>
                  <a:gd name="connsiteY22" fmla="*/ 119707 h 311281"/>
                  <a:gd name="connsiteX23" fmla="*/ 174701 w 235169"/>
                  <a:gd name="connsiteY23" fmla="*/ 104782 h 311281"/>
                  <a:gd name="connsiteX24" fmla="*/ 138837 w 235169"/>
                  <a:gd name="connsiteY24" fmla="*/ 59784 h 311281"/>
                  <a:gd name="connsiteX25" fmla="*/ 101413 w 235169"/>
                  <a:gd name="connsiteY25" fmla="*/ 58225 h 311281"/>
                  <a:gd name="connsiteX26" fmla="*/ 66662 w 235169"/>
                  <a:gd name="connsiteY26" fmla="*/ 85624 h 311281"/>
                  <a:gd name="connsiteX27" fmla="*/ 60202 w 235169"/>
                  <a:gd name="connsiteY27" fmla="*/ 119707 h 311281"/>
                  <a:gd name="connsiteX28" fmla="*/ 68221 w 235169"/>
                  <a:gd name="connsiteY28" fmla="*/ 127504 h 311281"/>
                  <a:gd name="connsiteX29" fmla="*/ 117674 w 235169"/>
                  <a:gd name="connsiteY29" fmla="*/ 127281 h 311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5169" h="311281">
                    <a:moveTo>
                      <a:pt x="142178" y="177180"/>
                    </a:moveTo>
                    <a:cubicBezTo>
                      <a:pt x="117897" y="177180"/>
                      <a:pt x="93616" y="177180"/>
                      <a:pt x="69335" y="177180"/>
                    </a:cubicBezTo>
                    <a:cubicBezTo>
                      <a:pt x="61761" y="177180"/>
                      <a:pt x="60424" y="178516"/>
                      <a:pt x="60424" y="186313"/>
                    </a:cubicBezTo>
                    <a:cubicBezTo>
                      <a:pt x="60424" y="196114"/>
                      <a:pt x="60202" y="205916"/>
                      <a:pt x="63098" y="215495"/>
                    </a:cubicBezTo>
                    <a:cubicBezTo>
                      <a:pt x="70449" y="240222"/>
                      <a:pt x="90052" y="253810"/>
                      <a:pt x="117229" y="255146"/>
                    </a:cubicBezTo>
                    <a:cubicBezTo>
                      <a:pt x="143069" y="256260"/>
                      <a:pt x="164232" y="247795"/>
                      <a:pt x="182053" y="229306"/>
                    </a:cubicBezTo>
                    <a:cubicBezTo>
                      <a:pt x="191186" y="219727"/>
                      <a:pt x="200542" y="219950"/>
                      <a:pt x="210343" y="228861"/>
                    </a:cubicBezTo>
                    <a:cubicBezTo>
                      <a:pt x="213908" y="231979"/>
                      <a:pt x="217472" y="235321"/>
                      <a:pt x="221036" y="238439"/>
                    </a:cubicBezTo>
                    <a:cubicBezTo>
                      <a:pt x="229278" y="246013"/>
                      <a:pt x="230615" y="254924"/>
                      <a:pt x="224377" y="264280"/>
                    </a:cubicBezTo>
                    <a:cubicBezTo>
                      <a:pt x="222373" y="267398"/>
                      <a:pt x="219922" y="270294"/>
                      <a:pt x="217249" y="272745"/>
                    </a:cubicBezTo>
                    <a:cubicBezTo>
                      <a:pt x="193191" y="296358"/>
                      <a:pt x="164454" y="309501"/>
                      <a:pt x="130595" y="311060"/>
                    </a:cubicBezTo>
                    <a:cubicBezTo>
                      <a:pt x="98071" y="312619"/>
                      <a:pt x="67998" y="306159"/>
                      <a:pt x="42158" y="285219"/>
                    </a:cubicBezTo>
                    <a:cubicBezTo>
                      <a:pt x="14758" y="262943"/>
                      <a:pt x="1392" y="233539"/>
                      <a:pt x="501" y="198565"/>
                    </a:cubicBezTo>
                    <a:cubicBezTo>
                      <a:pt x="-167" y="170497"/>
                      <a:pt x="-167" y="142206"/>
                      <a:pt x="501" y="114138"/>
                    </a:cubicBezTo>
                    <a:cubicBezTo>
                      <a:pt x="1615" y="66689"/>
                      <a:pt x="23891" y="26815"/>
                      <a:pt x="68444" y="8994"/>
                    </a:cubicBezTo>
                    <a:cubicBezTo>
                      <a:pt x="112551" y="-8604"/>
                      <a:pt x="176038" y="-2144"/>
                      <a:pt x="211457" y="44191"/>
                    </a:cubicBezTo>
                    <a:cubicBezTo>
                      <a:pt x="227051" y="64462"/>
                      <a:pt x="234625" y="87852"/>
                      <a:pt x="235070" y="113247"/>
                    </a:cubicBezTo>
                    <a:cubicBezTo>
                      <a:pt x="235293" y="127726"/>
                      <a:pt x="235070" y="142206"/>
                      <a:pt x="235070" y="156686"/>
                    </a:cubicBezTo>
                    <a:cubicBezTo>
                      <a:pt x="235070" y="170274"/>
                      <a:pt x="228164" y="177180"/>
                      <a:pt x="214576" y="177180"/>
                    </a:cubicBezTo>
                    <a:cubicBezTo>
                      <a:pt x="190740" y="177402"/>
                      <a:pt x="166459" y="177180"/>
                      <a:pt x="142178" y="177180"/>
                    </a:cubicBezTo>
                    <a:moveTo>
                      <a:pt x="117674" y="127281"/>
                    </a:moveTo>
                    <a:cubicBezTo>
                      <a:pt x="134604" y="127281"/>
                      <a:pt x="151311" y="127281"/>
                      <a:pt x="168241" y="127281"/>
                    </a:cubicBezTo>
                    <a:cubicBezTo>
                      <a:pt x="174033" y="127281"/>
                      <a:pt x="175593" y="125499"/>
                      <a:pt x="175815" y="119707"/>
                    </a:cubicBezTo>
                    <a:cubicBezTo>
                      <a:pt x="176038" y="114806"/>
                      <a:pt x="175815" y="109683"/>
                      <a:pt x="174701" y="104782"/>
                    </a:cubicBezTo>
                    <a:cubicBezTo>
                      <a:pt x="170469" y="83619"/>
                      <a:pt x="161113" y="66467"/>
                      <a:pt x="138837" y="59784"/>
                    </a:cubicBezTo>
                    <a:cubicBezTo>
                      <a:pt x="126585" y="56220"/>
                      <a:pt x="114110" y="56220"/>
                      <a:pt x="101413" y="58225"/>
                    </a:cubicBezTo>
                    <a:cubicBezTo>
                      <a:pt x="84705" y="60898"/>
                      <a:pt x="73345" y="70031"/>
                      <a:pt x="66662" y="85624"/>
                    </a:cubicBezTo>
                    <a:cubicBezTo>
                      <a:pt x="61984" y="96540"/>
                      <a:pt x="59979" y="107901"/>
                      <a:pt x="60202" y="119707"/>
                    </a:cubicBezTo>
                    <a:cubicBezTo>
                      <a:pt x="60424" y="125944"/>
                      <a:pt x="61761" y="127504"/>
                      <a:pt x="68221" y="127504"/>
                    </a:cubicBezTo>
                    <a:cubicBezTo>
                      <a:pt x="84928" y="127281"/>
                      <a:pt x="101413" y="127281"/>
                      <a:pt x="117674" y="127281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1" name="Graphic 13">
                <a:extLst>
                  <a:ext uri="{FF2B5EF4-FFF2-40B4-BE49-F238E27FC236}">
                    <a16:creationId xmlns:a16="http://schemas.microsoft.com/office/drawing/2014/main" id="{850349D7-41E1-473A-A485-3B049F4C0CA9}"/>
                  </a:ext>
                </a:extLst>
              </p:cNvPr>
              <p:cNvSpPr/>
              <p:nvPr/>
            </p:nvSpPr>
            <p:spPr>
              <a:xfrm>
                <a:off x="2003393" y="1130406"/>
                <a:ext cx="235998" cy="311136"/>
              </a:xfrm>
              <a:custGeom>
                <a:avLst/>
                <a:gdLst>
                  <a:gd name="connsiteX0" fmla="*/ 143043 w 235998"/>
                  <a:gd name="connsiteY0" fmla="*/ 176908 h 311136"/>
                  <a:gd name="connsiteX1" fmla="*/ 69754 w 235998"/>
                  <a:gd name="connsiteY1" fmla="*/ 176908 h 311136"/>
                  <a:gd name="connsiteX2" fmla="*/ 60398 w 235998"/>
                  <a:gd name="connsiteY2" fmla="*/ 186264 h 311136"/>
                  <a:gd name="connsiteX3" fmla="*/ 62403 w 235998"/>
                  <a:gd name="connsiteY3" fmla="*/ 212773 h 311136"/>
                  <a:gd name="connsiteX4" fmla="*/ 112970 w 235998"/>
                  <a:gd name="connsiteY4" fmla="*/ 254430 h 311136"/>
                  <a:gd name="connsiteX5" fmla="*/ 182027 w 235998"/>
                  <a:gd name="connsiteY5" fmla="*/ 228812 h 311136"/>
                  <a:gd name="connsiteX6" fmla="*/ 209872 w 235998"/>
                  <a:gd name="connsiteY6" fmla="*/ 228144 h 311136"/>
                  <a:gd name="connsiteX7" fmla="*/ 220564 w 235998"/>
                  <a:gd name="connsiteY7" fmla="*/ 237722 h 311136"/>
                  <a:gd name="connsiteX8" fmla="*/ 223683 w 235998"/>
                  <a:gd name="connsiteY8" fmla="*/ 264899 h 311136"/>
                  <a:gd name="connsiteX9" fmla="*/ 200739 w 235998"/>
                  <a:gd name="connsiteY9" fmla="*/ 286507 h 311136"/>
                  <a:gd name="connsiteX10" fmla="*/ 44582 w 235998"/>
                  <a:gd name="connsiteY10" fmla="*/ 286953 h 311136"/>
                  <a:gd name="connsiteX11" fmla="*/ 921 w 235998"/>
                  <a:gd name="connsiteY11" fmla="*/ 201412 h 311136"/>
                  <a:gd name="connsiteX12" fmla="*/ 921 w 235998"/>
                  <a:gd name="connsiteY12" fmla="*/ 109634 h 311136"/>
                  <a:gd name="connsiteX13" fmla="*/ 103837 w 235998"/>
                  <a:gd name="connsiteY13" fmla="*/ 480 h 311136"/>
                  <a:gd name="connsiteX14" fmla="*/ 200293 w 235998"/>
                  <a:gd name="connsiteY14" fmla="*/ 31222 h 311136"/>
                  <a:gd name="connsiteX15" fmla="*/ 234599 w 235998"/>
                  <a:gd name="connsiteY15" fmla="*/ 100278 h 311136"/>
                  <a:gd name="connsiteX16" fmla="*/ 235712 w 235998"/>
                  <a:gd name="connsiteY16" fmla="*/ 158642 h 311136"/>
                  <a:gd name="connsiteX17" fmla="*/ 216555 w 235998"/>
                  <a:gd name="connsiteY17" fmla="*/ 176686 h 311136"/>
                  <a:gd name="connsiteX18" fmla="*/ 143043 w 235998"/>
                  <a:gd name="connsiteY18" fmla="*/ 176908 h 311136"/>
                  <a:gd name="connsiteX19" fmla="*/ 118094 w 235998"/>
                  <a:gd name="connsiteY19" fmla="*/ 127232 h 311136"/>
                  <a:gd name="connsiteX20" fmla="*/ 137474 w 235998"/>
                  <a:gd name="connsiteY20" fmla="*/ 127232 h 311136"/>
                  <a:gd name="connsiteX21" fmla="*/ 167547 w 235998"/>
                  <a:gd name="connsiteY21" fmla="*/ 127232 h 311136"/>
                  <a:gd name="connsiteX22" fmla="*/ 175789 w 235998"/>
                  <a:gd name="connsiteY22" fmla="*/ 118767 h 311136"/>
                  <a:gd name="connsiteX23" fmla="*/ 175567 w 235998"/>
                  <a:gd name="connsiteY23" fmla="*/ 109411 h 311136"/>
                  <a:gd name="connsiteX24" fmla="*/ 134133 w 235998"/>
                  <a:gd name="connsiteY24" fmla="*/ 58176 h 311136"/>
                  <a:gd name="connsiteX25" fmla="*/ 106956 w 235998"/>
                  <a:gd name="connsiteY25" fmla="*/ 57062 h 311136"/>
                  <a:gd name="connsiteX26" fmla="*/ 70868 w 235998"/>
                  <a:gd name="connsiteY26" fmla="*/ 77556 h 311136"/>
                  <a:gd name="connsiteX27" fmla="*/ 60398 w 235998"/>
                  <a:gd name="connsiteY27" fmla="*/ 117208 h 311136"/>
                  <a:gd name="connsiteX28" fmla="*/ 70423 w 235998"/>
                  <a:gd name="connsiteY28" fmla="*/ 127232 h 311136"/>
                  <a:gd name="connsiteX29" fmla="*/ 118094 w 235998"/>
                  <a:gd name="connsiteY29" fmla="*/ 127232 h 311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5998" h="311136">
                    <a:moveTo>
                      <a:pt x="143043" y="176908"/>
                    </a:moveTo>
                    <a:cubicBezTo>
                      <a:pt x="118539" y="176908"/>
                      <a:pt x="94035" y="176908"/>
                      <a:pt x="69754" y="176908"/>
                    </a:cubicBezTo>
                    <a:cubicBezTo>
                      <a:pt x="61735" y="176908"/>
                      <a:pt x="60621" y="178245"/>
                      <a:pt x="60398" y="186264"/>
                    </a:cubicBezTo>
                    <a:cubicBezTo>
                      <a:pt x="60398" y="195175"/>
                      <a:pt x="60176" y="204085"/>
                      <a:pt x="62403" y="212773"/>
                    </a:cubicBezTo>
                    <a:cubicBezTo>
                      <a:pt x="68641" y="237500"/>
                      <a:pt x="87130" y="252425"/>
                      <a:pt x="112970" y="254430"/>
                    </a:cubicBezTo>
                    <a:cubicBezTo>
                      <a:pt x="140147" y="256657"/>
                      <a:pt x="163315" y="248861"/>
                      <a:pt x="182027" y="228812"/>
                    </a:cubicBezTo>
                    <a:cubicBezTo>
                      <a:pt x="190937" y="219456"/>
                      <a:pt x="200293" y="219456"/>
                      <a:pt x="209872" y="228144"/>
                    </a:cubicBezTo>
                    <a:cubicBezTo>
                      <a:pt x="213436" y="231485"/>
                      <a:pt x="217000" y="234604"/>
                      <a:pt x="220564" y="237722"/>
                    </a:cubicBezTo>
                    <a:cubicBezTo>
                      <a:pt x="229475" y="245742"/>
                      <a:pt x="230589" y="254875"/>
                      <a:pt x="223683" y="264899"/>
                    </a:cubicBezTo>
                    <a:cubicBezTo>
                      <a:pt x="217446" y="273587"/>
                      <a:pt x="209204" y="280270"/>
                      <a:pt x="200739" y="286507"/>
                    </a:cubicBezTo>
                    <a:cubicBezTo>
                      <a:pt x="154850" y="321036"/>
                      <a:pt x="83566" y="317471"/>
                      <a:pt x="44582" y="286953"/>
                    </a:cubicBezTo>
                    <a:cubicBezTo>
                      <a:pt x="16960" y="265122"/>
                      <a:pt x="2257" y="236386"/>
                      <a:pt x="921" y="201412"/>
                    </a:cubicBezTo>
                    <a:cubicBezTo>
                      <a:pt x="-193" y="170894"/>
                      <a:pt x="-416" y="140375"/>
                      <a:pt x="921" y="109634"/>
                    </a:cubicBezTo>
                    <a:cubicBezTo>
                      <a:pt x="3594" y="42805"/>
                      <a:pt x="50151" y="4490"/>
                      <a:pt x="103837" y="480"/>
                    </a:cubicBezTo>
                    <a:cubicBezTo>
                      <a:pt x="140147" y="-2193"/>
                      <a:pt x="172893" y="6050"/>
                      <a:pt x="200293" y="31222"/>
                    </a:cubicBezTo>
                    <a:cubicBezTo>
                      <a:pt x="220342" y="49934"/>
                      <a:pt x="231034" y="73324"/>
                      <a:pt x="234599" y="100278"/>
                    </a:cubicBezTo>
                    <a:cubicBezTo>
                      <a:pt x="237049" y="119658"/>
                      <a:pt x="235490" y="139039"/>
                      <a:pt x="235712" y="158642"/>
                    </a:cubicBezTo>
                    <a:cubicBezTo>
                      <a:pt x="235712" y="169557"/>
                      <a:pt x="227916" y="176463"/>
                      <a:pt x="216555" y="176686"/>
                    </a:cubicBezTo>
                    <a:cubicBezTo>
                      <a:pt x="192051" y="176908"/>
                      <a:pt x="167547" y="176908"/>
                      <a:pt x="143043" y="176908"/>
                    </a:cubicBezTo>
                    <a:moveTo>
                      <a:pt x="118094" y="127232"/>
                    </a:moveTo>
                    <a:lnTo>
                      <a:pt x="137474" y="127232"/>
                    </a:lnTo>
                    <a:cubicBezTo>
                      <a:pt x="147498" y="127232"/>
                      <a:pt x="157523" y="127455"/>
                      <a:pt x="167547" y="127232"/>
                    </a:cubicBezTo>
                    <a:cubicBezTo>
                      <a:pt x="174007" y="127010"/>
                      <a:pt x="175567" y="125450"/>
                      <a:pt x="175789" y="118767"/>
                    </a:cubicBezTo>
                    <a:cubicBezTo>
                      <a:pt x="175789" y="115649"/>
                      <a:pt x="175789" y="112530"/>
                      <a:pt x="175567" y="109411"/>
                    </a:cubicBezTo>
                    <a:cubicBezTo>
                      <a:pt x="173339" y="87358"/>
                      <a:pt x="161978" y="63299"/>
                      <a:pt x="134133" y="58176"/>
                    </a:cubicBezTo>
                    <a:cubicBezTo>
                      <a:pt x="125222" y="56394"/>
                      <a:pt x="116089" y="55948"/>
                      <a:pt x="106956" y="57062"/>
                    </a:cubicBezTo>
                    <a:cubicBezTo>
                      <a:pt x="92031" y="58621"/>
                      <a:pt x="79110" y="63968"/>
                      <a:pt x="70868" y="77556"/>
                    </a:cubicBezTo>
                    <a:cubicBezTo>
                      <a:pt x="63517" y="89808"/>
                      <a:pt x="60398" y="103174"/>
                      <a:pt x="60398" y="117208"/>
                    </a:cubicBezTo>
                    <a:cubicBezTo>
                      <a:pt x="60398" y="125896"/>
                      <a:pt x="61512" y="127232"/>
                      <a:pt x="70423" y="127232"/>
                    </a:cubicBezTo>
                    <a:cubicBezTo>
                      <a:pt x="86239" y="127455"/>
                      <a:pt x="102278" y="127232"/>
                      <a:pt x="118094" y="127232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2" name="Graphic 13">
                <a:extLst>
                  <a:ext uri="{FF2B5EF4-FFF2-40B4-BE49-F238E27FC236}">
                    <a16:creationId xmlns:a16="http://schemas.microsoft.com/office/drawing/2014/main" id="{1A8E3E36-CA5B-4378-9C4B-421771E81DA7}"/>
                  </a:ext>
                </a:extLst>
              </p:cNvPr>
              <p:cNvSpPr/>
              <p:nvPr/>
            </p:nvSpPr>
            <p:spPr>
              <a:xfrm>
                <a:off x="1173187" y="1140242"/>
                <a:ext cx="244231" cy="304070"/>
              </a:xfrm>
              <a:custGeom>
                <a:avLst/>
                <a:gdLst>
                  <a:gd name="connsiteX0" fmla="*/ 244148 w 244231"/>
                  <a:gd name="connsiteY0" fmla="*/ 180215 h 304070"/>
                  <a:gd name="connsiteX1" fmla="*/ 244148 w 244231"/>
                  <a:gd name="connsiteY1" fmla="*/ 77299 h 304070"/>
                  <a:gd name="connsiteX2" fmla="*/ 244148 w 244231"/>
                  <a:gd name="connsiteY2" fmla="*/ 55691 h 304070"/>
                  <a:gd name="connsiteX3" fmla="*/ 244148 w 244231"/>
                  <a:gd name="connsiteY3" fmla="*/ 21385 h 304070"/>
                  <a:gd name="connsiteX4" fmla="*/ 244148 w 244231"/>
                  <a:gd name="connsiteY4" fmla="*/ 20494 h 304070"/>
                  <a:gd name="connsiteX5" fmla="*/ 244148 w 244231"/>
                  <a:gd name="connsiteY5" fmla="*/ 20049 h 304070"/>
                  <a:gd name="connsiteX6" fmla="*/ 242143 w 244231"/>
                  <a:gd name="connsiteY6" fmla="*/ 9802 h 304070"/>
                  <a:gd name="connsiteX7" fmla="*/ 242143 w 244231"/>
                  <a:gd name="connsiteY7" fmla="*/ 9802 h 304070"/>
                  <a:gd name="connsiteX8" fmla="*/ 241697 w 244231"/>
                  <a:gd name="connsiteY8" fmla="*/ 8910 h 304070"/>
                  <a:gd name="connsiteX9" fmla="*/ 236128 w 244231"/>
                  <a:gd name="connsiteY9" fmla="*/ 2896 h 304070"/>
                  <a:gd name="connsiteX10" fmla="*/ 236128 w 244231"/>
                  <a:gd name="connsiteY10" fmla="*/ 2896 h 304070"/>
                  <a:gd name="connsiteX11" fmla="*/ 235683 w 244231"/>
                  <a:gd name="connsiteY11" fmla="*/ 2673 h 304070"/>
                  <a:gd name="connsiteX12" fmla="*/ 224099 w 244231"/>
                  <a:gd name="connsiteY12" fmla="*/ 0 h 304070"/>
                  <a:gd name="connsiteX13" fmla="*/ 222985 w 244231"/>
                  <a:gd name="connsiteY13" fmla="*/ 0 h 304070"/>
                  <a:gd name="connsiteX14" fmla="*/ 222762 w 244231"/>
                  <a:gd name="connsiteY14" fmla="*/ 0 h 304070"/>
                  <a:gd name="connsiteX15" fmla="*/ 213406 w 244231"/>
                  <a:gd name="connsiteY15" fmla="*/ 0 h 304070"/>
                  <a:gd name="connsiteX16" fmla="*/ 203828 w 244231"/>
                  <a:gd name="connsiteY16" fmla="*/ 0 h 304070"/>
                  <a:gd name="connsiteX17" fmla="*/ 203605 w 244231"/>
                  <a:gd name="connsiteY17" fmla="*/ 0 h 304070"/>
                  <a:gd name="connsiteX18" fmla="*/ 202937 w 244231"/>
                  <a:gd name="connsiteY18" fmla="*/ 0 h 304070"/>
                  <a:gd name="connsiteX19" fmla="*/ 192467 w 244231"/>
                  <a:gd name="connsiteY19" fmla="*/ 1782 h 304070"/>
                  <a:gd name="connsiteX20" fmla="*/ 192021 w 244231"/>
                  <a:gd name="connsiteY20" fmla="*/ 2005 h 304070"/>
                  <a:gd name="connsiteX21" fmla="*/ 191130 w 244231"/>
                  <a:gd name="connsiteY21" fmla="*/ 2450 h 304070"/>
                  <a:gd name="connsiteX22" fmla="*/ 190016 w 244231"/>
                  <a:gd name="connsiteY22" fmla="*/ 2896 h 304070"/>
                  <a:gd name="connsiteX23" fmla="*/ 190016 w 244231"/>
                  <a:gd name="connsiteY23" fmla="*/ 2896 h 304070"/>
                  <a:gd name="connsiteX24" fmla="*/ 187120 w 244231"/>
                  <a:gd name="connsiteY24" fmla="*/ 5124 h 304070"/>
                  <a:gd name="connsiteX25" fmla="*/ 181774 w 244231"/>
                  <a:gd name="connsiteY25" fmla="*/ 20940 h 304070"/>
                  <a:gd name="connsiteX26" fmla="*/ 181774 w 244231"/>
                  <a:gd name="connsiteY26" fmla="*/ 79749 h 304070"/>
                  <a:gd name="connsiteX27" fmla="*/ 181774 w 244231"/>
                  <a:gd name="connsiteY27" fmla="*/ 187120 h 304070"/>
                  <a:gd name="connsiteX28" fmla="*/ 181106 w 244231"/>
                  <a:gd name="connsiteY28" fmla="*/ 196254 h 304070"/>
                  <a:gd name="connsiteX29" fmla="*/ 180883 w 244231"/>
                  <a:gd name="connsiteY29" fmla="*/ 197145 h 304070"/>
                  <a:gd name="connsiteX30" fmla="*/ 175314 w 244231"/>
                  <a:gd name="connsiteY30" fmla="*/ 215634 h 304070"/>
                  <a:gd name="connsiteX31" fmla="*/ 162171 w 244231"/>
                  <a:gd name="connsiteY31" fmla="*/ 233901 h 304070"/>
                  <a:gd name="connsiteX32" fmla="*/ 149474 w 244231"/>
                  <a:gd name="connsiteY32" fmla="*/ 242588 h 304070"/>
                  <a:gd name="connsiteX33" fmla="*/ 148805 w 244231"/>
                  <a:gd name="connsiteY33" fmla="*/ 242811 h 304070"/>
                  <a:gd name="connsiteX34" fmla="*/ 124079 w 244231"/>
                  <a:gd name="connsiteY34" fmla="*/ 247712 h 304070"/>
                  <a:gd name="connsiteX35" fmla="*/ 122074 w 244231"/>
                  <a:gd name="connsiteY35" fmla="*/ 247712 h 304070"/>
                  <a:gd name="connsiteX36" fmla="*/ 120069 w 244231"/>
                  <a:gd name="connsiteY36" fmla="*/ 247712 h 304070"/>
                  <a:gd name="connsiteX37" fmla="*/ 95342 w 244231"/>
                  <a:gd name="connsiteY37" fmla="*/ 242811 h 304070"/>
                  <a:gd name="connsiteX38" fmla="*/ 94674 w 244231"/>
                  <a:gd name="connsiteY38" fmla="*/ 242588 h 304070"/>
                  <a:gd name="connsiteX39" fmla="*/ 81977 w 244231"/>
                  <a:gd name="connsiteY39" fmla="*/ 233901 h 304070"/>
                  <a:gd name="connsiteX40" fmla="*/ 68834 w 244231"/>
                  <a:gd name="connsiteY40" fmla="*/ 215634 h 304070"/>
                  <a:gd name="connsiteX41" fmla="*/ 63265 w 244231"/>
                  <a:gd name="connsiteY41" fmla="*/ 197145 h 304070"/>
                  <a:gd name="connsiteX42" fmla="*/ 63042 w 244231"/>
                  <a:gd name="connsiteY42" fmla="*/ 196254 h 304070"/>
                  <a:gd name="connsiteX43" fmla="*/ 62373 w 244231"/>
                  <a:gd name="connsiteY43" fmla="*/ 187120 h 304070"/>
                  <a:gd name="connsiteX44" fmla="*/ 62373 w 244231"/>
                  <a:gd name="connsiteY44" fmla="*/ 79749 h 304070"/>
                  <a:gd name="connsiteX45" fmla="*/ 62373 w 244231"/>
                  <a:gd name="connsiteY45" fmla="*/ 20940 h 304070"/>
                  <a:gd name="connsiteX46" fmla="*/ 57027 w 244231"/>
                  <a:gd name="connsiteY46" fmla="*/ 5124 h 304070"/>
                  <a:gd name="connsiteX47" fmla="*/ 54131 w 244231"/>
                  <a:gd name="connsiteY47" fmla="*/ 2896 h 304070"/>
                  <a:gd name="connsiteX48" fmla="*/ 54131 w 244231"/>
                  <a:gd name="connsiteY48" fmla="*/ 2896 h 304070"/>
                  <a:gd name="connsiteX49" fmla="*/ 53018 w 244231"/>
                  <a:gd name="connsiteY49" fmla="*/ 2450 h 304070"/>
                  <a:gd name="connsiteX50" fmla="*/ 52126 w 244231"/>
                  <a:gd name="connsiteY50" fmla="*/ 2005 h 304070"/>
                  <a:gd name="connsiteX51" fmla="*/ 51681 w 244231"/>
                  <a:gd name="connsiteY51" fmla="*/ 1782 h 304070"/>
                  <a:gd name="connsiteX52" fmla="*/ 41211 w 244231"/>
                  <a:gd name="connsiteY52" fmla="*/ 0 h 304070"/>
                  <a:gd name="connsiteX53" fmla="*/ 40543 w 244231"/>
                  <a:gd name="connsiteY53" fmla="*/ 0 h 304070"/>
                  <a:gd name="connsiteX54" fmla="*/ 40320 w 244231"/>
                  <a:gd name="connsiteY54" fmla="*/ 0 h 304070"/>
                  <a:gd name="connsiteX55" fmla="*/ 30741 w 244231"/>
                  <a:gd name="connsiteY55" fmla="*/ 0 h 304070"/>
                  <a:gd name="connsiteX56" fmla="*/ 21385 w 244231"/>
                  <a:gd name="connsiteY56" fmla="*/ 0 h 304070"/>
                  <a:gd name="connsiteX57" fmla="*/ 21162 w 244231"/>
                  <a:gd name="connsiteY57" fmla="*/ 0 h 304070"/>
                  <a:gd name="connsiteX58" fmla="*/ 20049 w 244231"/>
                  <a:gd name="connsiteY58" fmla="*/ 0 h 304070"/>
                  <a:gd name="connsiteX59" fmla="*/ 8465 w 244231"/>
                  <a:gd name="connsiteY59" fmla="*/ 2673 h 304070"/>
                  <a:gd name="connsiteX60" fmla="*/ 8019 w 244231"/>
                  <a:gd name="connsiteY60" fmla="*/ 2896 h 304070"/>
                  <a:gd name="connsiteX61" fmla="*/ 8019 w 244231"/>
                  <a:gd name="connsiteY61" fmla="*/ 2896 h 304070"/>
                  <a:gd name="connsiteX62" fmla="*/ 2450 w 244231"/>
                  <a:gd name="connsiteY62" fmla="*/ 8910 h 304070"/>
                  <a:gd name="connsiteX63" fmla="*/ 2005 w 244231"/>
                  <a:gd name="connsiteY63" fmla="*/ 9802 h 304070"/>
                  <a:gd name="connsiteX64" fmla="*/ 2005 w 244231"/>
                  <a:gd name="connsiteY64" fmla="*/ 9802 h 304070"/>
                  <a:gd name="connsiteX65" fmla="*/ 0 w 244231"/>
                  <a:gd name="connsiteY65" fmla="*/ 20049 h 304070"/>
                  <a:gd name="connsiteX66" fmla="*/ 0 w 244231"/>
                  <a:gd name="connsiteY66" fmla="*/ 20494 h 304070"/>
                  <a:gd name="connsiteX67" fmla="*/ 0 w 244231"/>
                  <a:gd name="connsiteY67" fmla="*/ 21385 h 304070"/>
                  <a:gd name="connsiteX68" fmla="*/ 0 w 244231"/>
                  <a:gd name="connsiteY68" fmla="*/ 55691 h 304070"/>
                  <a:gd name="connsiteX69" fmla="*/ 0 w 244231"/>
                  <a:gd name="connsiteY69" fmla="*/ 77299 h 304070"/>
                  <a:gd name="connsiteX70" fmla="*/ 0 w 244231"/>
                  <a:gd name="connsiteY70" fmla="*/ 180215 h 304070"/>
                  <a:gd name="connsiteX71" fmla="*/ 668 w 244231"/>
                  <a:gd name="connsiteY71" fmla="*/ 198481 h 304070"/>
                  <a:gd name="connsiteX72" fmla="*/ 2228 w 244231"/>
                  <a:gd name="connsiteY72" fmla="*/ 208728 h 304070"/>
                  <a:gd name="connsiteX73" fmla="*/ 100911 w 244231"/>
                  <a:gd name="connsiteY73" fmla="*/ 302734 h 304070"/>
                  <a:gd name="connsiteX74" fmla="*/ 102025 w 244231"/>
                  <a:gd name="connsiteY74" fmla="*/ 302957 h 304070"/>
                  <a:gd name="connsiteX75" fmla="*/ 104030 w 244231"/>
                  <a:gd name="connsiteY75" fmla="*/ 303180 h 304070"/>
                  <a:gd name="connsiteX76" fmla="*/ 104698 w 244231"/>
                  <a:gd name="connsiteY76" fmla="*/ 303180 h 304070"/>
                  <a:gd name="connsiteX77" fmla="*/ 117619 w 244231"/>
                  <a:gd name="connsiteY77" fmla="*/ 304071 h 304070"/>
                  <a:gd name="connsiteX78" fmla="*/ 120292 w 244231"/>
                  <a:gd name="connsiteY78" fmla="*/ 304071 h 304070"/>
                  <a:gd name="connsiteX79" fmla="*/ 120960 w 244231"/>
                  <a:gd name="connsiteY79" fmla="*/ 304071 h 304070"/>
                  <a:gd name="connsiteX80" fmla="*/ 122074 w 244231"/>
                  <a:gd name="connsiteY80" fmla="*/ 304071 h 304070"/>
                  <a:gd name="connsiteX81" fmla="*/ 123188 w 244231"/>
                  <a:gd name="connsiteY81" fmla="*/ 304071 h 304070"/>
                  <a:gd name="connsiteX82" fmla="*/ 123856 w 244231"/>
                  <a:gd name="connsiteY82" fmla="*/ 304071 h 304070"/>
                  <a:gd name="connsiteX83" fmla="*/ 126529 w 244231"/>
                  <a:gd name="connsiteY83" fmla="*/ 304071 h 304070"/>
                  <a:gd name="connsiteX84" fmla="*/ 139449 w 244231"/>
                  <a:gd name="connsiteY84" fmla="*/ 303180 h 304070"/>
                  <a:gd name="connsiteX85" fmla="*/ 140118 w 244231"/>
                  <a:gd name="connsiteY85" fmla="*/ 303180 h 304070"/>
                  <a:gd name="connsiteX86" fmla="*/ 142122 w 244231"/>
                  <a:gd name="connsiteY86" fmla="*/ 302957 h 304070"/>
                  <a:gd name="connsiteX87" fmla="*/ 143236 w 244231"/>
                  <a:gd name="connsiteY87" fmla="*/ 302734 h 304070"/>
                  <a:gd name="connsiteX88" fmla="*/ 241920 w 244231"/>
                  <a:gd name="connsiteY88" fmla="*/ 208728 h 304070"/>
                  <a:gd name="connsiteX89" fmla="*/ 243479 w 244231"/>
                  <a:gd name="connsiteY89" fmla="*/ 198481 h 304070"/>
                  <a:gd name="connsiteX90" fmla="*/ 244148 w 244231"/>
                  <a:gd name="connsiteY90" fmla="*/ 180215 h 304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244231" h="304070">
                    <a:moveTo>
                      <a:pt x="244148" y="180215"/>
                    </a:moveTo>
                    <a:cubicBezTo>
                      <a:pt x="244148" y="145909"/>
                      <a:pt x="244148" y="111604"/>
                      <a:pt x="244148" y="77299"/>
                    </a:cubicBezTo>
                    <a:cubicBezTo>
                      <a:pt x="244148" y="70170"/>
                      <a:pt x="244148" y="62819"/>
                      <a:pt x="244148" y="55691"/>
                    </a:cubicBezTo>
                    <a:cubicBezTo>
                      <a:pt x="244148" y="44330"/>
                      <a:pt x="244148" y="32746"/>
                      <a:pt x="244148" y="21385"/>
                    </a:cubicBezTo>
                    <a:cubicBezTo>
                      <a:pt x="244148" y="21162"/>
                      <a:pt x="244148" y="20717"/>
                      <a:pt x="244148" y="20494"/>
                    </a:cubicBezTo>
                    <a:cubicBezTo>
                      <a:pt x="244148" y="20271"/>
                      <a:pt x="244148" y="20049"/>
                      <a:pt x="244148" y="20049"/>
                    </a:cubicBezTo>
                    <a:cubicBezTo>
                      <a:pt x="244148" y="16039"/>
                      <a:pt x="243479" y="12475"/>
                      <a:pt x="242143" y="9802"/>
                    </a:cubicBezTo>
                    <a:cubicBezTo>
                      <a:pt x="242143" y="9802"/>
                      <a:pt x="242143" y="9802"/>
                      <a:pt x="242143" y="9802"/>
                    </a:cubicBezTo>
                    <a:cubicBezTo>
                      <a:pt x="241920" y="9579"/>
                      <a:pt x="241920" y="9133"/>
                      <a:pt x="241697" y="8910"/>
                    </a:cubicBezTo>
                    <a:cubicBezTo>
                      <a:pt x="240361" y="6237"/>
                      <a:pt x="238579" y="4233"/>
                      <a:pt x="236128" y="2896"/>
                    </a:cubicBezTo>
                    <a:cubicBezTo>
                      <a:pt x="236128" y="2896"/>
                      <a:pt x="236128" y="2896"/>
                      <a:pt x="236128" y="2896"/>
                    </a:cubicBezTo>
                    <a:cubicBezTo>
                      <a:pt x="235905" y="2896"/>
                      <a:pt x="235905" y="2673"/>
                      <a:pt x="235683" y="2673"/>
                    </a:cubicBezTo>
                    <a:cubicBezTo>
                      <a:pt x="232564" y="891"/>
                      <a:pt x="228777" y="0"/>
                      <a:pt x="224099" y="0"/>
                    </a:cubicBezTo>
                    <a:lnTo>
                      <a:pt x="222985" y="0"/>
                    </a:lnTo>
                    <a:cubicBezTo>
                      <a:pt x="222985" y="0"/>
                      <a:pt x="222762" y="0"/>
                      <a:pt x="222762" y="0"/>
                    </a:cubicBezTo>
                    <a:lnTo>
                      <a:pt x="213406" y="0"/>
                    </a:lnTo>
                    <a:lnTo>
                      <a:pt x="203828" y="0"/>
                    </a:lnTo>
                    <a:cubicBezTo>
                      <a:pt x="203828" y="0"/>
                      <a:pt x="203605" y="0"/>
                      <a:pt x="203605" y="0"/>
                    </a:cubicBezTo>
                    <a:lnTo>
                      <a:pt x="202937" y="0"/>
                    </a:lnTo>
                    <a:cubicBezTo>
                      <a:pt x="198927" y="0"/>
                      <a:pt x="195363" y="668"/>
                      <a:pt x="192467" y="1782"/>
                    </a:cubicBezTo>
                    <a:cubicBezTo>
                      <a:pt x="192244" y="1782"/>
                      <a:pt x="192244" y="1782"/>
                      <a:pt x="192021" y="2005"/>
                    </a:cubicBezTo>
                    <a:cubicBezTo>
                      <a:pt x="191798" y="2228"/>
                      <a:pt x="191576" y="2228"/>
                      <a:pt x="191130" y="2450"/>
                    </a:cubicBezTo>
                    <a:cubicBezTo>
                      <a:pt x="190685" y="2673"/>
                      <a:pt x="190462" y="2896"/>
                      <a:pt x="190016" y="2896"/>
                    </a:cubicBezTo>
                    <a:cubicBezTo>
                      <a:pt x="190016" y="2896"/>
                      <a:pt x="190016" y="2896"/>
                      <a:pt x="190016" y="2896"/>
                    </a:cubicBezTo>
                    <a:cubicBezTo>
                      <a:pt x="188903" y="3564"/>
                      <a:pt x="188012" y="4233"/>
                      <a:pt x="187120" y="5124"/>
                    </a:cubicBezTo>
                    <a:cubicBezTo>
                      <a:pt x="183556" y="8688"/>
                      <a:pt x="181774" y="13811"/>
                      <a:pt x="181774" y="20940"/>
                    </a:cubicBezTo>
                    <a:cubicBezTo>
                      <a:pt x="181774" y="40543"/>
                      <a:pt x="181774" y="60146"/>
                      <a:pt x="181774" y="79749"/>
                    </a:cubicBezTo>
                    <a:cubicBezTo>
                      <a:pt x="181774" y="115614"/>
                      <a:pt x="181997" y="151256"/>
                      <a:pt x="181774" y="187120"/>
                    </a:cubicBezTo>
                    <a:cubicBezTo>
                      <a:pt x="181774" y="190239"/>
                      <a:pt x="181551" y="193358"/>
                      <a:pt x="181106" y="196254"/>
                    </a:cubicBezTo>
                    <a:cubicBezTo>
                      <a:pt x="181106" y="196477"/>
                      <a:pt x="181106" y="196922"/>
                      <a:pt x="180883" y="197145"/>
                    </a:cubicBezTo>
                    <a:cubicBezTo>
                      <a:pt x="179547" y="203605"/>
                      <a:pt x="177987" y="209842"/>
                      <a:pt x="175314" y="215634"/>
                    </a:cubicBezTo>
                    <a:cubicBezTo>
                      <a:pt x="172195" y="222317"/>
                      <a:pt x="167740" y="228332"/>
                      <a:pt x="162171" y="233901"/>
                    </a:cubicBezTo>
                    <a:cubicBezTo>
                      <a:pt x="158384" y="237688"/>
                      <a:pt x="153929" y="240361"/>
                      <a:pt x="149474" y="242588"/>
                    </a:cubicBezTo>
                    <a:cubicBezTo>
                      <a:pt x="149251" y="242588"/>
                      <a:pt x="149028" y="242811"/>
                      <a:pt x="148805" y="242811"/>
                    </a:cubicBezTo>
                    <a:cubicBezTo>
                      <a:pt x="141231" y="246153"/>
                      <a:pt x="132766" y="247489"/>
                      <a:pt x="124079" y="247712"/>
                    </a:cubicBezTo>
                    <a:cubicBezTo>
                      <a:pt x="123410" y="247712"/>
                      <a:pt x="122742" y="247712"/>
                      <a:pt x="122074" y="247712"/>
                    </a:cubicBezTo>
                    <a:cubicBezTo>
                      <a:pt x="121406" y="247712"/>
                      <a:pt x="120737" y="247712"/>
                      <a:pt x="120069" y="247712"/>
                    </a:cubicBezTo>
                    <a:cubicBezTo>
                      <a:pt x="111381" y="247489"/>
                      <a:pt x="102916" y="246153"/>
                      <a:pt x="95342" y="242811"/>
                    </a:cubicBezTo>
                    <a:cubicBezTo>
                      <a:pt x="95120" y="242811"/>
                      <a:pt x="94897" y="242588"/>
                      <a:pt x="94674" y="242588"/>
                    </a:cubicBezTo>
                    <a:cubicBezTo>
                      <a:pt x="89996" y="240583"/>
                      <a:pt x="85764" y="237688"/>
                      <a:pt x="81977" y="233901"/>
                    </a:cubicBezTo>
                    <a:cubicBezTo>
                      <a:pt x="76408" y="228332"/>
                      <a:pt x="71952" y="222317"/>
                      <a:pt x="68834" y="215634"/>
                    </a:cubicBezTo>
                    <a:cubicBezTo>
                      <a:pt x="66383" y="209842"/>
                      <a:pt x="64601" y="203605"/>
                      <a:pt x="63265" y="197145"/>
                    </a:cubicBezTo>
                    <a:cubicBezTo>
                      <a:pt x="63265" y="196922"/>
                      <a:pt x="63265" y="196477"/>
                      <a:pt x="63042" y="196254"/>
                    </a:cubicBezTo>
                    <a:cubicBezTo>
                      <a:pt x="62596" y="193358"/>
                      <a:pt x="62373" y="190239"/>
                      <a:pt x="62373" y="187120"/>
                    </a:cubicBezTo>
                    <a:cubicBezTo>
                      <a:pt x="62151" y="151256"/>
                      <a:pt x="62373" y="115614"/>
                      <a:pt x="62373" y="79749"/>
                    </a:cubicBezTo>
                    <a:cubicBezTo>
                      <a:pt x="62373" y="60146"/>
                      <a:pt x="62373" y="40543"/>
                      <a:pt x="62373" y="20940"/>
                    </a:cubicBezTo>
                    <a:cubicBezTo>
                      <a:pt x="62373" y="14034"/>
                      <a:pt x="60591" y="8688"/>
                      <a:pt x="57027" y="5124"/>
                    </a:cubicBezTo>
                    <a:cubicBezTo>
                      <a:pt x="56136" y="4233"/>
                      <a:pt x="55245" y="3564"/>
                      <a:pt x="54131" y="2896"/>
                    </a:cubicBezTo>
                    <a:cubicBezTo>
                      <a:pt x="54131" y="2896"/>
                      <a:pt x="54131" y="2896"/>
                      <a:pt x="54131" y="2896"/>
                    </a:cubicBezTo>
                    <a:cubicBezTo>
                      <a:pt x="53909" y="2673"/>
                      <a:pt x="53463" y="2450"/>
                      <a:pt x="53018" y="2450"/>
                    </a:cubicBezTo>
                    <a:cubicBezTo>
                      <a:pt x="52795" y="2228"/>
                      <a:pt x="52572" y="2228"/>
                      <a:pt x="52126" y="2005"/>
                    </a:cubicBezTo>
                    <a:cubicBezTo>
                      <a:pt x="52126" y="2005"/>
                      <a:pt x="51904" y="2005"/>
                      <a:pt x="51681" y="1782"/>
                    </a:cubicBezTo>
                    <a:cubicBezTo>
                      <a:pt x="48785" y="446"/>
                      <a:pt x="45221" y="0"/>
                      <a:pt x="41211" y="0"/>
                    </a:cubicBezTo>
                    <a:lnTo>
                      <a:pt x="40543" y="0"/>
                    </a:lnTo>
                    <a:cubicBezTo>
                      <a:pt x="40543" y="0"/>
                      <a:pt x="40320" y="0"/>
                      <a:pt x="40320" y="0"/>
                    </a:cubicBezTo>
                    <a:lnTo>
                      <a:pt x="30741" y="0"/>
                    </a:lnTo>
                    <a:lnTo>
                      <a:pt x="21385" y="0"/>
                    </a:lnTo>
                    <a:cubicBezTo>
                      <a:pt x="21385" y="0"/>
                      <a:pt x="21162" y="0"/>
                      <a:pt x="21162" y="0"/>
                    </a:cubicBezTo>
                    <a:lnTo>
                      <a:pt x="20049" y="0"/>
                    </a:lnTo>
                    <a:cubicBezTo>
                      <a:pt x="15371" y="0"/>
                      <a:pt x="11361" y="891"/>
                      <a:pt x="8465" y="2673"/>
                    </a:cubicBezTo>
                    <a:cubicBezTo>
                      <a:pt x="8242" y="2673"/>
                      <a:pt x="8242" y="2896"/>
                      <a:pt x="8019" y="2896"/>
                    </a:cubicBezTo>
                    <a:cubicBezTo>
                      <a:pt x="8019" y="2896"/>
                      <a:pt x="8019" y="2896"/>
                      <a:pt x="8019" y="2896"/>
                    </a:cubicBezTo>
                    <a:cubicBezTo>
                      <a:pt x="5569" y="4455"/>
                      <a:pt x="3787" y="6460"/>
                      <a:pt x="2450" y="8910"/>
                    </a:cubicBezTo>
                    <a:cubicBezTo>
                      <a:pt x="2228" y="9133"/>
                      <a:pt x="2228" y="9579"/>
                      <a:pt x="2005" y="9802"/>
                    </a:cubicBezTo>
                    <a:cubicBezTo>
                      <a:pt x="2005" y="9802"/>
                      <a:pt x="2005" y="9802"/>
                      <a:pt x="2005" y="9802"/>
                    </a:cubicBezTo>
                    <a:cubicBezTo>
                      <a:pt x="668" y="12697"/>
                      <a:pt x="0" y="16039"/>
                      <a:pt x="0" y="20049"/>
                    </a:cubicBezTo>
                    <a:cubicBezTo>
                      <a:pt x="0" y="20271"/>
                      <a:pt x="0" y="20494"/>
                      <a:pt x="0" y="20494"/>
                    </a:cubicBezTo>
                    <a:cubicBezTo>
                      <a:pt x="0" y="20717"/>
                      <a:pt x="0" y="20940"/>
                      <a:pt x="0" y="21385"/>
                    </a:cubicBezTo>
                    <a:cubicBezTo>
                      <a:pt x="0" y="32746"/>
                      <a:pt x="0" y="44330"/>
                      <a:pt x="0" y="55691"/>
                    </a:cubicBezTo>
                    <a:cubicBezTo>
                      <a:pt x="0" y="62819"/>
                      <a:pt x="0" y="70170"/>
                      <a:pt x="0" y="77299"/>
                    </a:cubicBezTo>
                    <a:cubicBezTo>
                      <a:pt x="0" y="111604"/>
                      <a:pt x="0" y="145909"/>
                      <a:pt x="0" y="180215"/>
                    </a:cubicBezTo>
                    <a:cubicBezTo>
                      <a:pt x="0" y="186229"/>
                      <a:pt x="0" y="192467"/>
                      <a:pt x="668" y="198481"/>
                    </a:cubicBezTo>
                    <a:cubicBezTo>
                      <a:pt x="1114" y="202046"/>
                      <a:pt x="1559" y="205387"/>
                      <a:pt x="2228" y="208728"/>
                    </a:cubicBezTo>
                    <a:cubicBezTo>
                      <a:pt x="11138" y="259741"/>
                      <a:pt x="50790" y="296051"/>
                      <a:pt x="100911" y="302734"/>
                    </a:cubicBezTo>
                    <a:cubicBezTo>
                      <a:pt x="101357" y="302734"/>
                      <a:pt x="101580" y="302734"/>
                      <a:pt x="102025" y="302957"/>
                    </a:cubicBezTo>
                    <a:cubicBezTo>
                      <a:pt x="102694" y="302957"/>
                      <a:pt x="103362" y="303180"/>
                      <a:pt x="104030" y="303180"/>
                    </a:cubicBezTo>
                    <a:cubicBezTo>
                      <a:pt x="104253" y="303180"/>
                      <a:pt x="104476" y="303180"/>
                      <a:pt x="104698" y="303180"/>
                    </a:cubicBezTo>
                    <a:cubicBezTo>
                      <a:pt x="108931" y="303625"/>
                      <a:pt x="113163" y="303848"/>
                      <a:pt x="117619" y="304071"/>
                    </a:cubicBezTo>
                    <a:cubicBezTo>
                      <a:pt x="118510" y="304071"/>
                      <a:pt x="119401" y="304071"/>
                      <a:pt x="120292" y="304071"/>
                    </a:cubicBezTo>
                    <a:cubicBezTo>
                      <a:pt x="120515" y="304071"/>
                      <a:pt x="120737" y="304071"/>
                      <a:pt x="120960" y="304071"/>
                    </a:cubicBezTo>
                    <a:cubicBezTo>
                      <a:pt x="121406" y="304071"/>
                      <a:pt x="121628" y="304071"/>
                      <a:pt x="122074" y="304071"/>
                    </a:cubicBezTo>
                    <a:cubicBezTo>
                      <a:pt x="122519" y="304071"/>
                      <a:pt x="122742" y="304071"/>
                      <a:pt x="123188" y="304071"/>
                    </a:cubicBezTo>
                    <a:cubicBezTo>
                      <a:pt x="123410" y="304071"/>
                      <a:pt x="123633" y="304071"/>
                      <a:pt x="123856" y="304071"/>
                    </a:cubicBezTo>
                    <a:cubicBezTo>
                      <a:pt x="124747" y="304071"/>
                      <a:pt x="125638" y="304071"/>
                      <a:pt x="126529" y="304071"/>
                    </a:cubicBezTo>
                    <a:cubicBezTo>
                      <a:pt x="130984" y="304071"/>
                      <a:pt x="135217" y="303625"/>
                      <a:pt x="139449" y="303180"/>
                    </a:cubicBezTo>
                    <a:cubicBezTo>
                      <a:pt x="139672" y="303180"/>
                      <a:pt x="139895" y="303180"/>
                      <a:pt x="140118" y="303180"/>
                    </a:cubicBezTo>
                    <a:cubicBezTo>
                      <a:pt x="140786" y="303180"/>
                      <a:pt x="141454" y="302957"/>
                      <a:pt x="142122" y="302957"/>
                    </a:cubicBezTo>
                    <a:cubicBezTo>
                      <a:pt x="142568" y="302957"/>
                      <a:pt x="143014" y="302957"/>
                      <a:pt x="143236" y="302734"/>
                    </a:cubicBezTo>
                    <a:cubicBezTo>
                      <a:pt x="193358" y="296051"/>
                      <a:pt x="233010" y="259741"/>
                      <a:pt x="241920" y="208728"/>
                    </a:cubicBezTo>
                    <a:cubicBezTo>
                      <a:pt x="242588" y="205387"/>
                      <a:pt x="243034" y="202046"/>
                      <a:pt x="243479" y="198481"/>
                    </a:cubicBezTo>
                    <a:cubicBezTo>
                      <a:pt x="244148" y="192467"/>
                      <a:pt x="244370" y="186229"/>
                      <a:pt x="244148" y="180215"/>
                    </a:cubicBez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3" name="Graphic 13">
                <a:extLst>
                  <a:ext uri="{FF2B5EF4-FFF2-40B4-BE49-F238E27FC236}">
                    <a16:creationId xmlns:a16="http://schemas.microsoft.com/office/drawing/2014/main" id="{53C35282-E87F-4169-872A-0ABD4033D706}"/>
                  </a:ext>
                </a:extLst>
              </p:cNvPr>
              <p:cNvSpPr/>
              <p:nvPr/>
            </p:nvSpPr>
            <p:spPr>
              <a:xfrm>
                <a:off x="610655" y="1130302"/>
                <a:ext cx="188725" cy="311338"/>
              </a:xfrm>
              <a:custGeom>
                <a:avLst/>
                <a:gdLst>
                  <a:gd name="connsiteX0" fmla="*/ 87157 w 188725"/>
                  <a:gd name="connsiteY0" fmla="*/ 311338 h 311338"/>
                  <a:gd name="connsiteX1" fmla="*/ 26788 w 188725"/>
                  <a:gd name="connsiteY1" fmla="*/ 297750 h 311338"/>
                  <a:gd name="connsiteX2" fmla="*/ 5403 w 188725"/>
                  <a:gd name="connsiteY2" fmla="*/ 280374 h 311338"/>
                  <a:gd name="connsiteX3" fmla="*/ 5626 w 188725"/>
                  <a:gd name="connsiteY3" fmla="*/ 252752 h 311338"/>
                  <a:gd name="connsiteX4" fmla="*/ 16987 w 188725"/>
                  <a:gd name="connsiteY4" fmla="*/ 238940 h 311338"/>
                  <a:gd name="connsiteX5" fmla="*/ 40822 w 188725"/>
                  <a:gd name="connsiteY5" fmla="*/ 235822 h 311338"/>
                  <a:gd name="connsiteX6" fmla="*/ 59757 w 188725"/>
                  <a:gd name="connsiteY6" fmla="*/ 248519 h 311338"/>
                  <a:gd name="connsiteX7" fmla="*/ 112329 w 188725"/>
                  <a:gd name="connsiteY7" fmla="*/ 249410 h 311338"/>
                  <a:gd name="connsiteX8" fmla="*/ 117453 w 188725"/>
                  <a:gd name="connsiteY8" fmla="*/ 203298 h 311338"/>
                  <a:gd name="connsiteX9" fmla="*/ 82925 w 188725"/>
                  <a:gd name="connsiteY9" fmla="*/ 182359 h 311338"/>
                  <a:gd name="connsiteX10" fmla="*/ 35031 w 188725"/>
                  <a:gd name="connsiteY10" fmla="*/ 152731 h 311338"/>
                  <a:gd name="connsiteX11" fmla="*/ 8076 w 188725"/>
                  <a:gd name="connsiteY11" fmla="*/ 65408 h 311338"/>
                  <a:gd name="connsiteX12" fmla="*/ 72009 w 188725"/>
                  <a:gd name="connsiteY12" fmla="*/ 3703 h 311338"/>
                  <a:gd name="connsiteX13" fmla="*/ 168243 w 188725"/>
                  <a:gd name="connsiteY13" fmla="*/ 22861 h 311338"/>
                  <a:gd name="connsiteX14" fmla="*/ 181386 w 188725"/>
                  <a:gd name="connsiteY14" fmla="*/ 39568 h 311338"/>
                  <a:gd name="connsiteX15" fmla="*/ 177376 w 188725"/>
                  <a:gd name="connsiteY15" fmla="*/ 57166 h 311338"/>
                  <a:gd name="connsiteX16" fmla="*/ 163119 w 188725"/>
                  <a:gd name="connsiteY16" fmla="*/ 72091 h 311338"/>
                  <a:gd name="connsiteX17" fmla="*/ 138170 w 188725"/>
                  <a:gd name="connsiteY17" fmla="*/ 72537 h 311338"/>
                  <a:gd name="connsiteX18" fmla="*/ 83147 w 188725"/>
                  <a:gd name="connsiteY18" fmla="*/ 59171 h 311338"/>
                  <a:gd name="connsiteX19" fmla="*/ 63544 w 188725"/>
                  <a:gd name="connsiteY19" fmla="*/ 80556 h 311338"/>
                  <a:gd name="connsiteX20" fmla="*/ 73123 w 188725"/>
                  <a:gd name="connsiteY20" fmla="*/ 108402 h 311338"/>
                  <a:gd name="connsiteX21" fmla="*/ 109656 w 188725"/>
                  <a:gd name="connsiteY21" fmla="*/ 129118 h 311338"/>
                  <a:gd name="connsiteX22" fmla="*/ 160669 w 188725"/>
                  <a:gd name="connsiteY22" fmla="*/ 160082 h 311338"/>
                  <a:gd name="connsiteX23" fmla="*/ 141957 w 188725"/>
                  <a:gd name="connsiteY23" fmla="*/ 298641 h 311338"/>
                  <a:gd name="connsiteX24" fmla="*/ 87157 w 188725"/>
                  <a:gd name="connsiteY24" fmla="*/ 311338 h 31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8725" h="311338">
                    <a:moveTo>
                      <a:pt x="87157" y="311338"/>
                    </a:moveTo>
                    <a:cubicBezTo>
                      <a:pt x="65326" y="310893"/>
                      <a:pt x="45055" y="308220"/>
                      <a:pt x="26788" y="297750"/>
                    </a:cubicBezTo>
                    <a:cubicBezTo>
                      <a:pt x="18769" y="293072"/>
                      <a:pt x="11418" y="287503"/>
                      <a:pt x="5403" y="280374"/>
                    </a:cubicBezTo>
                    <a:cubicBezTo>
                      <a:pt x="-1948" y="271686"/>
                      <a:pt x="-1725" y="261217"/>
                      <a:pt x="5626" y="252752"/>
                    </a:cubicBezTo>
                    <a:cubicBezTo>
                      <a:pt x="9413" y="248296"/>
                      <a:pt x="13200" y="243618"/>
                      <a:pt x="16987" y="238940"/>
                    </a:cubicBezTo>
                    <a:cubicBezTo>
                      <a:pt x="24115" y="230475"/>
                      <a:pt x="31689" y="229362"/>
                      <a:pt x="40822" y="235822"/>
                    </a:cubicBezTo>
                    <a:cubicBezTo>
                      <a:pt x="47060" y="240277"/>
                      <a:pt x="52852" y="245178"/>
                      <a:pt x="59757" y="248519"/>
                    </a:cubicBezTo>
                    <a:cubicBezTo>
                      <a:pt x="77133" y="256984"/>
                      <a:pt x="94954" y="257652"/>
                      <a:pt x="112329" y="249410"/>
                    </a:cubicBezTo>
                    <a:cubicBezTo>
                      <a:pt x="132378" y="240054"/>
                      <a:pt x="134605" y="217555"/>
                      <a:pt x="117453" y="203298"/>
                    </a:cubicBezTo>
                    <a:cubicBezTo>
                      <a:pt x="106983" y="194611"/>
                      <a:pt x="94954" y="188373"/>
                      <a:pt x="82925" y="182359"/>
                    </a:cubicBezTo>
                    <a:cubicBezTo>
                      <a:pt x="65995" y="173894"/>
                      <a:pt x="49287" y="165206"/>
                      <a:pt x="35031" y="152731"/>
                    </a:cubicBezTo>
                    <a:cubicBezTo>
                      <a:pt x="8076" y="129341"/>
                      <a:pt x="-389" y="99491"/>
                      <a:pt x="8076" y="65408"/>
                    </a:cubicBezTo>
                    <a:cubicBezTo>
                      <a:pt x="16319" y="31994"/>
                      <a:pt x="39263" y="11723"/>
                      <a:pt x="72009" y="3703"/>
                    </a:cubicBezTo>
                    <a:cubicBezTo>
                      <a:pt x="106760" y="-4985"/>
                      <a:pt x="139283" y="1698"/>
                      <a:pt x="168243" y="22861"/>
                    </a:cubicBezTo>
                    <a:cubicBezTo>
                      <a:pt x="174034" y="27093"/>
                      <a:pt x="179381" y="31994"/>
                      <a:pt x="181386" y="39568"/>
                    </a:cubicBezTo>
                    <a:cubicBezTo>
                      <a:pt x="183168" y="46251"/>
                      <a:pt x="182054" y="52043"/>
                      <a:pt x="177376" y="57166"/>
                    </a:cubicBezTo>
                    <a:cubicBezTo>
                      <a:pt x="172698" y="62290"/>
                      <a:pt x="168020" y="67191"/>
                      <a:pt x="163119" y="72091"/>
                    </a:cubicBezTo>
                    <a:cubicBezTo>
                      <a:pt x="154209" y="80779"/>
                      <a:pt x="147303" y="80779"/>
                      <a:pt x="138170" y="72537"/>
                    </a:cubicBezTo>
                    <a:cubicBezTo>
                      <a:pt x="122131" y="58280"/>
                      <a:pt x="103864" y="53379"/>
                      <a:pt x="83147" y="59171"/>
                    </a:cubicBezTo>
                    <a:cubicBezTo>
                      <a:pt x="72455" y="62067"/>
                      <a:pt x="65772" y="69641"/>
                      <a:pt x="63544" y="80556"/>
                    </a:cubicBezTo>
                    <a:cubicBezTo>
                      <a:pt x="61317" y="91472"/>
                      <a:pt x="63990" y="101050"/>
                      <a:pt x="73123" y="108402"/>
                    </a:cubicBezTo>
                    <a:cubicBezTo>
                      <a:pt x="84261" y="117312"/>
                      <a:pt x="96736" y="123549"/>
                      <a:pt x="109656" y="129118"/>
                    </a:cubicBezTo>
                    <a:cubicBezTo>
                      <a:pt x="127923" y="137361"/>
                      <a:pt x="145298" y="146939"/>
                      <a:pt x="160669" y="160082"/>
                    </a:cubicBezTo>
                    <a:cubicBezTo>
                      <a:pt x="204776" y="197507"/>
                      <a:pt x="195642" y="271018"/>
                      <a:pt x="141957" y="298641"/>
                    </a:cubicBezTo>
                    <a:cubicBezTo>
                      <a:pt x="124136" y="307551"/>
                      <a:pt x="105646" y="311338"/>
                      <a:pt x="87157" y="311338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4" name="Graphic 13">
                <a:extLst>
                  <a:ext uri="{FF2B5EF4-FFF2-40B4-BE49-F238E27FC236}">
                    <a16:creationId xmlns:a16="http://schemas.microsoft.com/office/drawing/2014/main" id="{9C22D09C-3692-46A8-B04A-FED016A4EBCE}"/>
                  </a:ext>
                </a:extLst>
              </p:cNvPr>
              <p:cNvSpPr/>
              <p:nvPr/>
            </p:nvSpPr>
            <p:spPr>
              <a:xfrm>
                <a:off x="1766651" y="1560036"/>
                <a:ext cx="188703" cy="310781"/>
              </a:xfrm>
              <a:custGeom>
                <a:avLst/>
                <a:gdLst>
                  <a:gd name="connsiteX0" fmla="*/ 99996 w 188703"/>
                  <a:gd name="connsiteY0" fmla="*/ 114 h 310781"/>
                  <a:gd name="connsiteX1" fmla="*/ 169052 w 188703"/>
                  <a:gd name="connsiteY1" fmla="*/ 23281 h 310781"/>
                  <a:gd name="connsiteX2" fmla="*/ 179076 w 188703"/>
                  <a:gd name="connsiteY2" fmla="*/ 33528 h 310781"/>
                  <a:gd name="connsiteX3" fmla="*/ 177294 w 188703"/>
                  <a:gd name="connsiteY3" fmla="*/ 56695 h 310781"/>
                  <a:gd name="connsiteX4" fmla="*/ 161032 w 188703"/>
                  <a:gd name="connsiteY4" fmla="*/ 73180 h 310781"/>
                  <a:gd name="connsiteX5" fmla="*/ 138979 w 188703"/>
                  <a:gd name="connsiteY5" fmla="*/ 72511 h 310781"/>
                  <a:gd name="connsiteX6" fmla="*/ 85516 w 188703"/>
                  <a:gd name="connsiteY6" fmla="*/ 57809 h 310781"/>
                  <a:gd name="connsiteX7" fmla="*/ 63685 w 188703"/>
                  <a:gd name="connsiteY7" fmla="*/ 78972 h 310781"/>
                  <a:gd name="connsiteX8" fmla="*/ 73932 w 188703"/>
                  <a:gd name="connsiteY8" fmla="*/ 108599 h 310781"/>
                  <a:gd name="connsiteX9" fmla="*/ 110020 w 188703"/>
                  <a:gd name="connsiteY9" fmla="*/ 128870 h 310781"/>
                  <a:gd name="connsiteX10" fmla="*/ 156800 w 188703"/>
                  <a:gd name="connsiteY10" fmla="*/ 156270 h 310781"/>
                  <a:gd name="connsiteX11" fmla="*/ 143657 w 188703"/>
                  <a:gd name="connsiteY11" fmla="*/ 297056 h 310781"/>
                  <a:gd name="connsiteX12" fmla="*/ 75492 w 188703"/>
                  <a:gd name="connsiteY12" fmla="*/ 310422 h 310781"/>
                  <a:gd name="connsiteX13" fmla="*/ 16905 w 188703"/>
                  <a:gd name="connsiteY13" fmla="*/ 291041 h 310781"/>
                  <a:gd name="connsiteX14" fmla="*/ 4876 w 188703"/>
                  <a:gd name="connsiteY14" fmla="*/ 279680 h 310781"/>
                  <a:gd name="connsiteX15" fmla="*/ 5322 w 188703"/>
                  <a:gd name="connsiteY15" fmla="*/ 252726 h 310781"/>
                  <a:gd name="connsiteX16" fmla="*/ 15791 w 188703"/>
                  <a:gd name="connsiteY16" fmla="*/ 239806 h 310781"/>
                  <a:gd name="connsiteX17" fmla="*/ 42523 w 188703"/>
                  <a:gd name="connsiteY17" fmla="*/ 236910 h 310781"/>
                  <a:gd name="connsiteX18" fmla="*/ 62126 w 188703"/>
                  <a:gd name="connsiteY18" fmla="*/ 249385 h 310781"/>
                  <a:gd name="connsiteX19" fmla="*/ 111579 w 188703"/>
                  <a:gd name="connsiteY19" fmla="*/ 249162 h 310781"/>
                  <a:gd name="connsiteX20" fmla="*/ 117594 w 188703"/>
                  <a:gd name="connsiteY20" fmla="*/ 203273 h 310781"/>
                  <a:gd name="connsiteX21" fmla="*/ 79279 w 188703"/>
                  <a:gd name="connsiteY21" fmla="*/ 180106 h 310781"/>
                  <a:gd name="connsiteX22" fmla="*/ 27152 w 188703"/>
                  <a:gd name="connsiteY22" fmla="*/ 144909 h 310781"/>
                  <a:gd name="connsiteX23" fmla="*/ 9777 w 188703"/>
                  <a:gd name="connsiteY23" fmla="*/ 58700 h 310781"/>
                  <a:gd name="connsiteX24" fmla="*/ 75714 w 188703"/>
                  <a:gd name="connsiteY24" fmla="*/ 2341 h 310781"/>
                  <a:gd name="connsiteX25" fmla="*/ 99996 w 188703"/>
                  <a:gd name="connsiteY25" fmla="*/ 114 h 31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8703" h="310781">
                    <a:moveTo>
                      <a:pt x="99996" y="114"/>
                    </a:moveTo>
                    <a:cubicBezTo>
                      <a:pt x="125613" y="-555"/>
                      <a:pt x="148335" y="8133"/>
                      <a:pt x="169052" y="23281"/>
                    </a:cubicBezTo>
                    <a:cubicBezTo>
                      <a:pt x="172839" y="26177"/>
                      <a:pt x="176626" y="29296"/>
                      <a:pt x="179076" y="33528"/>
                    </a:cubicBezTo>
                    <a:cubicBezTo>
                      <a:pt x="183532" y="41547"/>
                      <a:pt x="183309" y="50235"/>
                      <a:pt x="177294" y="56695"/>
                    </a:cubicBezTo>
                    <a:cubicBezTo>
                      <a:pt x="172171" y="62487"/>
                      <a:pt x="166824" y="68279"/>
                      <a:pt x="161032" y="73180"/>
                    </a:cubicBezTo>
                    <a:cubicBezTo>
                      <a:pt x="153013" y="80085"/>
                      <a:pt x="146776" y="79640"/>
                      <a:pt x="138979" y="72511"/>
                    </a:cubicBezTo>
                    <a:cubicBezTo>
                      <a:pt x="123608" y="58477"/>
                      <a:pt x="106010" y="53354"/>
                      <a:pt x="85516" y="57809"/>
                    </a:cubicBezTo>
                    <a:cubicBezTo>
                      <a:pt x="73932" y="60259"/>
                      <a:pt x="66581" y="67388"/>
                      <a:pt x="63685" y="78972"/>
                    </a:cubicBezTo>
                    <a:cubicBezTo>
                      <a:pt x="60567" y="91001"/>
                      <a:pt x="64131" y="101025"/>
                      <a:pt x="73932" y="108599"/>
                    </a:cubicBezTo>
                    <a:cubicBezTo>
                      <a:pt x="84848" y="117287"/>
                      <a:pt x="97322" y="123301"/>
                      <a:pt x="110020" y="128870"/>
                    </a:cubicBezTo>
                    <a:cubicBezTo>
                      <a:pt x="126727" y="136221"/>
                      <a:pt x="142320" y="145132"/>
                      <a:pt x="156800" y="156270"/>
                    </a:cubicBezTo>
                    <a:cubicBezTo>
                      <a:pt x="205585" y="194140"/>
                      <a:pt x="196229" y="268765"/>
                      <a:pt x="143657" y="297056"/>
                    </a:cubicBezTo>
                    <a:cubicBezTo>
                      <a:pt x="122272" y="308640"/>
                      <a:pt x="99550" y="311981"/>
                      <a:pt x="75492" y="310422"/>
                    </a:cubicBezTo>
                    <a:cubicBezTo>
                      <a:pt x="54106" y="309085"/>
                      <a:pt x="34281" y="303962"/>
                      <a:pt x="16905" y="291041"/>
                    </a:cubicBezTo>
                    <a:cubicBezTo>
                      <a:pt x="12450" y="287700"/>
                      <a:pt x="8440" y="283913"/>
                      <a:pt x="4876" y="279680"/>
                    </a:cubicBezTo>
                    <a:cubicBezTo>
                      <a:pt x="-1807" y="271438"/>
                      <a:pt x="-1584" y="260968"/>
                      <a:pt x="5322" y="252726"/>
                    </a:cubicBezTo>
                    <a:cubicBezTo>
                      <a:pt x="8886" y="248494"/>
                      <a:pt x="12450" y="244038"/>
                      <a:pt x="15791" y="239806"/>
                    </a:cubicBezTo>
                    <a:cubicBezTo>
                      <a:pt x="24256" y="229559"/>
                      <a:pt x="32053" y="228668"/>
                      <a:pt x="42523" y="236910"/>
                    </a:cubicBezTo>
                    <a:cubicBezTo>
                      <a:pt x="48760" y="241588"/>
                      <a:pt x="54998" y="246266"/>
                      <a:pt x="62126" y="249385"/>
                    </a:cubicBezTo>
                    <a:cubicBezTo>
                      <a:pt x="78610" y="256513"/>
                      <a:pt x="95318" y="256736"/>
                      <a:pt x="111579" y="249162"/>
                    </a:cubicBezTo>
                    <a:cubicBezTo>
                      <a:pt x="131851" y="239806"/>
                      <a:pt x="134524" y="217752"/>
                      <a:pt x="117594" y="203273"/>
                    </a:cubicBezTo>
                    <a:cubicBezTo>
                      <a:pt x="106010" y="193471"/>
                      <a:pt x="92644" y="186788"/>
                      <a:pt x="79279" y="180106"/>
                    </a:cubicBezTo>
                    <a:cubicBezTo>
                      <a:pt x="60344" y="170527"/>
                      <a:pt x="41855" y="160503"/>
                      <a:pt x="27152" y="144909"/>
                    </a:cubicBezTo>
                    <a:cubicBezTo>
                      <a:pt x="3985" y="119737"/>
                      <a:pt x="-693" y="90110"/>
                      <a:pt x="9777" y="58700"/>
                    </a:cubicBezTo>
                    <a:cubicBezTo>
                      <a:pt x="20247" y="27068"/>
                      <a:pt x="43859" y="9470"/>
                      <a:pt x="75714" y="2341"/>
                    </a:cubicBezTo>
                    <a:cubicBezTo>
                      <a:pt x="83511" y="559"/>
                      <a:pt x="91753" y="-332"/>
                      <a:pt x="99996" y="114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5" name="Graphic 13">
                <a:extLst>
                  <a:ext uri="{FF2B5EF4-FFF2-40B4-BE49-F238E27FC236}">
                    <a16:creationId xmlns:a16="http://schemas.microsoft.com/office/drawing/2014/main" id="{60D9A7D3-2B37-4EE1-B927-1E3B7DA8F7DC}"/>
                  </a:ext>
                </a:extLst>
              </p:cNvPr>
              <p:cNvSpPr/>
              <p:nvPr/>
            </p:nvSpPr>
            <p:spPr>
              <a:xfrm>
                <a:off x="1807515" y="1137089"/>
                <a:ext cx="149294" cy="297867"/>
              </a:xfrm>
              <a:custGeom>
                <a:avLst/>
                <a:gdLst>
                  <a:gd name="connsiteX0" fmla="*/ 322 w 149294"/>
                  <a:gd name="connsiteY0" fmla="*/ 189828 h 297867"/>
                  <a:gd name="connsiteX1" fmla="*/ 545 w 149294"/>
                  <a:gd name="connsiteY1" fmla="*/ 102505 h 297867"/>
                  <a:gd name="connsiteX2" fmla="*/ 33959 w 149294"/>
                  <a:gd name="connsiteY2" fmla="*/ 24761 h 297867"/>
                  <a:gd name="connsiteX3" fmla="*/ 100119 w 149294"/>
                  <a:gd name="connsiteY3" fmla="*/ 257 h 297867"/>
                  <a:gd name="connsiteX4" fmla="*/ 129524 w 149294"/>
                  <a:gd name="connsiteY4" fmla="*/ 257 h 297867"/>
                  <a:gd name="connsiteX5" fmla="*/ 149127 w 149294"/>
                  <a:gd name="connsiteY5" fmla="*/ 19415 h 297867"/>
                  <a:gd name="connsiteX6" fmla="*/ 149127 w 149294"/>
                  <a:gd name="connsiteY6" fmla="*/ 37236 h 297867"/>
                  <a:gd name="connsiteX7" fmla="*/ 129524 w 149294"/>
                  <a:gd name="connsiteY7" fmla="*/ 56616 h 297867"/>
                  <a:gd name="connsiteX8" fmla="*/ 109030 w 149294"/>
                  <a:gd name="connsiteY8" fmla="*/ 56616 h 297867"/>
                  <a:gd name="connsiteX9" fmla="*/ 61136 w 149294"/>
                  <a:gd name="connsiteY9" fmla="*/ 97382 h 297867"/>
                  <a:gd name="connsiteX10" fmla="*/ 59799 w 149294"/>
                  <a:gd name="connsiteY10" fmla="*/ 117208 h 297867"/>
                  <a:gd name="connsiteX11" fmla="*/ 59799 w 149294"/>
                  <a:gd name="connsiteY11" fmla="*/ 276260 h 297867"/>
                  <a:gd name="connsiteX12" fmla="*/ 38191 w 149294"/>
                  <a:gd name="connsiteY12" fmla="*/ 297868 h 297867"/>
                  <a:gd name="connsiteX13" fmla="*/ 20370 w 149294"/>
                  <a:gd name="connsiteY13" fmla="*/ 297868 h 297867"/>
                  <a:gd name="connsiteX14" fmla="*/ 99 w 149294"/>
                  <a:gd name="connsiteY14" fmla="*/ 278042 h 297867"/>
                  <a:gd name="connsiteX15" fmla="*/ 99 w 149294"/>
                  <a:gd name="connsiteY15" fmla="*/ 246855 h 297867"/>
                  <a:gd name="connsiteX16" fmla="*/ 99 w 149294"/>
                  <a:gd name="connsiteY16" fmla="*/ 189605 h 297867"/>
                  <a:gd name="connsiteX17" fmla="*/ 322 w 149294"/>
                  <a:gd name="connsiteY17" fmla="*/ 189605 h 29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9294" h="297867">
                    <a:moveTo>
                      <a:pt x="322" y="189828"/>
                    </a:moveTo>
                    <a:cubicBezTo>
                      <a:pt x="322" y="160646"/>
                      <a:pt x="-347" y="131687"/>
                      <a:pt x="545" y="102505"/>
                    </a:cubicBezTo>
                    <a:cubicBezTo>
                      <a:pt x="1213" y="72432"/>
                      <a:pt x="11237" y="45478"/>
                      <a:pt x="33959" y="24761"/>
                    </a:cubicBezTo>
                    <a:cubicBezTo>
                      <a:pt x="52671" y="7608"/>
                      <a:pt x="75393" y="1148"/>
                      <a:pt x="100119" y="257"/>
                    </a:cubicBezTo>
                    <a:cubicBezTo>
                      <a:pt x="109921" y="-188"/>
                      <a:pt x="119723" y="34"/>
                      <a:pt x="129524" y="257"/>
                    </a:cubicBezTo>
                    <a:cubicBezTo>
                      <a:pt x="141776" y="257"/>
                      <a:pt x="148904" y="7163"/>
                      <a:pt x="149127" y="19415"/>
                    </a:cubicBezTo>
                    <a:cubicBezTo>
                      <a:pt x="149350" y="25429"/>
                      <a:pt x="149350" y="31221"/>
                      <a:pt x="149127" y="37236"/>
                    </a:cubicBezTo>
                    <a:cubicBezTo>
                      <a:pt x="148682" y="49488"/>
                      <a:pt x="141999" y="56393"/>
                      <a:pt x="129524" y="56616"/>
                    </a:cubicBezTo>
                    <a:cubicBezTo>
                      <a:pt x="122618" y="56839"/>
                      <a:pt x="115713" y="56616"/>
                      <a:pt x="109030" y="56616"/>
                    </a:cubicBezTo>
                    <a:cubicBezTo>
                      <a:pt x="82521" y="56616"/>
                      <a:pt x="65591" y="71096"/>
                      <a:pt x="61136" y="97382"/>
                    </a:cubicBezTo>
                    <a:cubicBezTo>
                      <a:pt x="60022" y="104065"/>
                      <a:pt x="59799" y="110747"/>
                      <a:pt x="59799" y="117208"/>
                    </a:cubicBezTo>
                    <a:cubicBezTo>
                      <a:pt x="59799" y="170225"/>
                      <a:pt x="59799" y="223242"/>
                      <a:pt x="59799" y="276260"/>
                    </a:cubicBezTo>
                    <a:cubicBezTo>
                      <a:pt x="59799" y="291408"/>
                      <a:pt x="53116" y="297868"/>
                      <a:pt x="38191" y="297868"/>
                    </a:cubicBezTo>
                    <a:cubicBezTo>
                      <a:pt x="32177" y="297868"/>
                      <a:pt x="26385" y="297868"/>
                      <a:pt x="20370" y="297868"/>
                    </a:cubicBezTo>
                    <a:cubicBezTo>
                      <a:pt x="7673" y="297868"/>
                      <a:pt x="322" y="290962"/>
                      <a:pt x="99" y="278042"/>
                    </a:cubicBezTo>
                    <a:cubicBezTo>
                      <a:pt x="-124" y="267572"/>
                      <a:pt x="99" y="257325"/>
                      <a:pt x="99" y="246855"/>
                    </a:cubicBezTo>
                    <a:lnTo>
                      <a:pt x="99" y="189605"/>
                    </a:lnTo>
                    <a:lnTo>
                      <a:pt x="322" y="189605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6" name="Graphic 13">
                <a:extLst>
                  <a:ext uri="{FF2B5EF4-FFF2-40B4-BE49-F238E27FC236}">
                    <a16:creationId xmlns:a16="http://schemas.microsoft.com/office/drawing/2014/main" id="{915A2A68-D698-4E44-9FF1-D23386F7DE47}"/>
                  </a:ext>
                </a:extLst>
              </p:cNvPr>
              <p:cNvSpPr/>
              <p:nvPr/>
            </p:nvSpPr>
            <p:spPr>
              <a:xfrm>
                <a:off x="1646334" y="1566610"/>
                <a:ext cx="59923" cy="298155"/>
              </a:xfrm>
              <a:custGeom>
                <a:avLst/>
                <a:gdLst>
                  <a:gd name="connsiteX0" fmla="*/ 59923 w 59923"/>
                  <a:gd name="connsiteY0" fmla="*/ 149251 h 298155"/>
                  <a:gd name="connsiteX1" fmla="*/ 59923 w 59923"/>
                  <a:gd name="connsiteY1" fmla="*/ 274889 h 298155"/>
                  <a:gd name="connsiteX2" fmla="*/ 36533 w 59923"/>
                  <a:gd name="connsiteY2" fmla="*/ 298056 h 298155"/>
                  <a:gd name="connsiteX3" fmla="*/ 19826 w 59923"/>
                  <a:gd name="connsiteY3" fmla="*/ 298056 h 298155"/>
                  <a:gd name="connsiteX4" fmla="*/ 0 w 59923"/>
                  <a:gd name="connsiteY4" fmla="*/ 277785 h 298155"/>
                  <a:gd name="connsiteX5" fmla="*/ 0 w 59923"/>
                  <a:gd name="connsiteY5" fmla="*/ 244370 h 298155"/>
                  <a:gd name="connsiteX6" fmla="*/ 0 w 59923"/>
                  <a:gd name="connsiteY6" fmla="*/ 22053 h 298155"/>
                  <a:gd name="connsiteX7" fmla="*/ 21831 w 59923"/>
                  <a:gd name="connsiteY7" fmla="*/ 0 h 298155"/>
                  <a:gd name="connsiteX8" fmla="*/ 38983 w 59923"/>
                  <a:gd name="connsiteY8" fmla="*/ 0 h 298155"/>
                  <a:gd name="connsiteX9" fmla="*/ 59700 w 59923"/>
                  <a:gd name="connsiteY9" fmla="*/ 20940 h 298155"/>
                  <a:gd name="connsiteX10" fmla="*/ 59700 w 59923"/>
                  <a:gd name="connsiteY10" fmla="*/ 71952 h 298155"/>
                  <a:gd name="connsiteX11" fmla="*/ 59700 w 59923"/>
                  <a:gd name="connsiteY11" fmla="*/ 149251 h 298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9923" h="298155">
                    <a:moveTo>
                      <a:pt x="59923" y="149251"/>
                    </a:moveTo>
                    <a:cubicBezTo>
                      <a:pt x="59923" y="191130"/>
                      <a:pt x="59923" y="233009"/>
                      <a:pt x="59923" y="274889"/>
                    </a:cubicBezTo>
                    <a:cubicBezTo>
                      <a:pt x="59923" y="291596"/>
                      <a:pt x="53463" y="298056"/>
                      <a:pt x="36533" y="298056"/>
                    </a:cubicBezTo>
                    <a:cubicBezTo>
                      <a:pt x="30964" y="298056"/>
                      <a:pt x="25395" y="298279"/>
                      <a:pt x="19826" y="298056"/>
                    </a:cubicBezTo>
                    <a:cubicBezTo>
                      <a:pt x="7128" y="297833"/>
                      <a:pt x="0" y="290705"/>
                      <a:pt x="0" y="277785"/>
                    </a:cubicBezTo>
                    <a:cubicBezTo>
                      <a:pt x="0" y="266647"/>
                      <a:pt x="0" y="255509"/>
                      <a:pt x="0" y="244370"/>
                    </a:cubicBezTo>
                    <a:cubicBezTo>
                      <a:pt x="0" y="170190"/>
                      <a:pt x="0" y="96233"/>
                      <a:pt x="0" y="22053"/>
                    </a:cubicBezTo>
                    <a:cubicBezTo>
                      <a:pt x="0" y="6460"/>
                      <a:pt x="6460" y="0"/>
                      <a:pt x="21831" y="0"/>
                    </a:cubicBezTo>
                    <a:cubicBezTo>
                      <a:pt x="27623" y="0"/>
                      <a:pt x="33414" y="0"/>
                      <a:pt x="38983" y="0"/>
                    </a:cubicBezTo>
                    <a:cubicBezTo>
                      <a:pt x="52795" y="223"/>
                      <a:pt x="59700" y="7128"/>
                      <a:pt x="59700" y="20940"/>
                    </a:cubicBezTo>
                    <a:cubicBezTo>
                      <a:pt x="59700" y="37870"/>
                      <a:pt x="59700" y="55022"/>
                      <a:pt x="59700" y="71952"/>
                    </a:cubicBezTo>
                    <a:lnTo>
                      <a:pt x="59700" y="149251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80433596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 Donkergro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n datum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29868" y="5316910"/>
            <a:ext cx="9866377" cy="356616"/>
          </a:xfrm>
          <a:prstGeom prst="rect">
            <a:avLst/>
          </a:prstGeom>
        </p:spPr>
        <p:txBody>
          <a:bodyPr lIns="216000" tIns="45719" rIns="45719" bIns="45719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 dirty="0"/>
              <a:t>Auteurs</a:t>
            </a:r>
            <a:endParaRPr dirty="0"/>
          </a:p>
        </p:txBody>
      </p:sp>
      <p:sp>
        <p:nvSpPr>
          <p:cNvPr id="12" name="Naam presentatie"/>
          <p:cNvSpPr txBox="1">
            <a:spLocks noGrp="1"/>
          </p:cNvSpPr>
          <p:nvPr>
            <p:ph type="title" hasCustomPrompt="1"/>
          </p:nvPr>
        </p:nvSpPr>
        <p:spPr>
          <a:xfrm>
            <a:off x="1252728" y="3314700"/>
            <a:ext cx="9866377" cy="758953"/>
          </a:xfrm>
          <a:prstGeom prst="rect">
            <a:avLst/>
          </a:prstGeom>
        </p:spPr>
        <p:txBody>
          <a:bodyPr lIns="144000" anchor="t">
            <a:noAutofit/>
          </a:bodyPr>
          <a:lstStyle>
            <a:lvl1pPr>
              <a:defRPr sz="60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/>
              <a:t>Titel</a:t>
            </a:r>
            <a:endParaRPr dirty="0"/>
          </a:p>
        </p:txBody>
      </p:sp>
      <p:sp>
        <p:nvSpPr>
          <p:cNvPr id="13" name="Hoofdtekst - niveau é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48156" y="1284732"/>
            <a:ext cx="9870949" cy="2029968"/>
          </a:xfrm>
          <a:prstGeom prst="rect">
            <a:avLst/>
          </a:prstGeom>
        </p:spPr>
        <p:txBody>
          <a:bodyPr lIns="108000" bIns="0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6100" b="0" spc="55" baseline="0">
                <a:solidFill>
                  <a:schemeClr val="bg1"/>
                </a:solidFill>
              </a:defRPr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nl-NL" dirty="0"/>
              <a:t>Subtitel</a:t>
            </a:r>
          </a:p>
        </p:txBody>
      </p:sp>
      <p:sp>
        <p:nvSpPr>
          <p:cNvPr id="9" name="Tijdelijke aanduiding voor datum 4">
            <a:extLst>
              <a:ext uri="{FF2B5EF4-FFF2-40B4-BE49-F238E27FC236}">
                <a16:creationId xmlns:a16="http://schemas.microsoft.com/office/drawing/2014/main" id="{1AB02A12-0190-465E-B00A-B91F85BC46FC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229868" y="5683940"/>
            <a:ext cx="9866376" cy="365125"/>
          </a:xfrm>
          <a:prstGeom prst="rect">
            <a:avLst/>
          </a:prstGeom>
        </p:spPr>
        <p:txBody>
          <a:bodyPr vert="horz" lIns="180000" tIns="45720" rIns="91440" bIns="45720" rtlCol="0" anchor="ctr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B150532B-FCF9-426A-ADF2-F182BD70000C}" type="datetime4">
              <a:rPr lang="nl-NL" smtClean="0"/>
              <a:pPr/>
              <a:t>8 juni 2023</a:t>
            </a:fld>
            <a:endParaRPr lang="nl-NL" dirty="0"/>
          </a:p>
        </p:txBody>
      </p:sp>
      <p:sp>
        <p:nvSpPr>
          <p:cNvPr id="10" name="Dianummer">
            <a:extLst>
              <a:ext uri="{FF2B5EF4-FFF2-40B4-BE49-F238E27FC236}">
                <a16:creationId xmlns:a16="http://schemas.microsoft.com/office/drawing/2014/main" id="{869DACE5-1BFD-404D-92ED-AAFC9B1C2565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588750" y="6823285"/>
            <a:ext cx="405638" cy="27186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r" defTabSz="292100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tx1"/>
                </a:solidFill>
                <a:latin typeface="+mn-lt"/>
                <a:ea typeface="Source Sans Pro" panose="020B0503030403020204" pitchFamily="34" charset="0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grpSp>
        <p:nvGrpSpPr>
          <p:cNvPr id="21" name="Groep 20">
            <a:extLst>
              <a:ext uri="{FF2B5EF4-FFF2-40B4-BE49-F238E27FC236}">
                <a16:creationId xmlns:a16="http://schemas.microsoft.com/office/drawing/2014/main" id="{F90CF876-9B7D-4AF2-B4EE-CB18DFF3D81F}"/>
              </a:ext>
            </a:extLst>
          </p:cNvPr>
          <p:cNvGrpSpPr/>
          <p:nvPr userDrawn="1"/>
        </p:nvGrpSpPr>
        <p:grpSpPr>
          <a:xfrm>
            <a:off x="183505" y="206685"/>
            <a:ext cx="1082848" cy="1082848"/>
            <a:chOff x="367010" y="413369"/>
            <a:chExt cx="2165696" cy="2165696"/>
          </a:xfrm>
        </p:grpSpPr>
        <p:sp>
          <p:nvSpPr>
            <p:cNvPr id="2" name="Graphic 13">
              <a:extLst>
                <a:ext uri="{FF2B5EF4-FFF2-40B4-BE49-F238E27FC236}">
                  <a16:creationId xmlns:a16="http://schemas.microsoft.com/office/drawing/2014/main" id="{7FB56C70-CECC-4544-83F2-2BEA4F1607E8}"/>
                </a:ext>
              </a:extLst>
            </p:cNvPr>
            <p:cNvSpPr/>
            <p:nvPr/>
          </p:nvSpPr>
          <p:spPr>
            <a:xfrm>
              <a:off x="367010" y="413369"/>
              <a:ext cx="2165696" cy="2165696"/>
            </a:xfrm>
            <a:custGeom>
              <a:avLst/>
              <a:gdLst>
                <a:gd name="connsiteX0" fmla="*/ 1200912 w 2165696"/>
                <a:gd name="connsiteY0" fmla="*/ 2165697 h 2165696"/>
                <a:gd name="connsiteX1" fmla="*/ 0 w 2165696"/>
                <a:gd name="connsiteY1" fmla="*/ 2165697 h 2165696"/>
                <a:gd name="connsiteX2" fmla="*/ 0 w 2165696"/>
                <a:gd name="connsiteY2" fmla="*/ 964784 h 2165696"/>
                <a:gd name="connsiteX3" fmla="*/ 964784 w 2165696"/>
                <a:gd name="connsiteY3" fmla="*/ 0 h 2165696"/>
                <a:gd name="connsiteX4" fmla="*/ 2165697 w 2165696"/>
                <a:gd name="connsiteY4" fmla="*/ 0 h 2165696"/>
                <a:gd name="connsiteX5" fmla="*/ 2165697 w 2165696"/>
                <a:gd name="connsiteY5" fmla="*/ 1200912 h 2165696"/>
                <a:gd name="connsiteX6" fmla="*/ 1200912 w 2165696"/>
                <a:gd name="connsiteY6" fmla="*/ 2165697 h 216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696" h="2165696">
                  <a:moveTo>
                    <a:pt x="1200912" y="2165697"/>
                  </a:moveTo>
                  <a:lnTo>
                    <a:pt x="0" y="2165697"/>
                  </a:lnTo>
                  <a:lnTo>
                    <a:pt x="0" y="964784"/>
                  </a:lnTo>
                  <a:cubicBezTo>
                    <a:pt x="0" y="431936"/>
                    <a:pt x="431936" y="0"/>
                    <a:pt x="964784" y="0"/>
                  </a:cubicBezTo>
                  <a:lnTo>
                    <a:pt x="2165697" y="0"/>
                  </a:lnTo>
                  <a:lnTo>
                    <a:pt x="2165697" y="1200912"/>
                  </a:lnTo>
                  <a:cubicBezTo>
                    <a:pt x="2165697" y="1733760"/>
                    <a:pt x="1733760" y="2165697"/>
                    <a:pt x="1200912" y="2165697"/>
                  </a:cubicBezTo>
                </a:path>
              </a:pathLst>
            </a:custGeom>
            <a:solidFill>
              <a:schemeClr val="bg1"/>
            </a:solidFill>
            <a:ln w="22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900"/>
            </a:p>
          </p:txBody>
        </p:sp>
        <p:grpSp>
          <p:nvGrpSpPr>
            <p:cNvPr id="3" name="Graphic 13">
              <a:extLst>
                <a:ext uri="{FF2B5EF4-FFF2-40B4-BE49-F238E27FC236}">
                  <a16:creationId xmlns:a16="http://schemas.microsoft.com/office/drawing/2014/main" id="{122345DC-CB5F-41EA-9FBA-530971CF6BA9}"/>
                </a:ext>
              </a:extLst>
            </p:cNvPr>
            <p:cNvGrpSpPr/>
            <p:nvPr/>
          </p:nvGrpSpPr>
          <p:grpSpPr>
            <a:xfrm>
              <a:off x="610655" y="1130302"/>
              <a:ext cx="1628994" cy="740997"/>
              <a:chOff x="610655" y="1130302"/>
              <a:chExt cx="1628994" cy="740997"/>
            </a:xfrm>
            <a:solidFill>
              <a:schemeClr val="tx1"/>
            </a:solidFill>
          </p:grpSpPr>
          <p:sp>
            <p:nvSpPr>
              <p:cNvPr id="4" name="Graphic 13">
                <a:extLst>
                  <a:ext uri="{FF2B5EF4-FFF2-40B4-BE49-F238E27FC236}">
                    <a16:creationId xmlns:a16="http://schemas.microsoft.com/office/drawing/2014/main" id="{64227B14-D02D-409A-A58A-B9822038522D}"/>
                  </a:ext>
                </a:extLst>
              </p:cNvPr>
              <p:cNvSpPr/>
              <p:nvPr/>
            </p:nvSpPr>
            <p:spPr>
              <a:xfrm>
                <a:off x="1171083" y="1566053"/>
                <a:ext cx="397284" cy="305246"/>
              </a:xfrm>
              <a:custGeom>
                <a:avLst/>
                <a:gdLst>
                  <a:gd name="connsiteX0" fmla="*/ 397284 w 397284"/>
                  <a:gd name="connsiteY0" fmla="*/ 109933 h 305246"/>
                  <a:gd name="connsiteX1" fmla="*/ 397284 w 397284"/>
                  <a:gd name="connsiteY1" fmla="*/ 192801 h 305246"/>
                  <a:gd name="connsiteX2" fmla="*/ 291695 w 397284"/>
                  <a:gd name="connsiteY2" fmla="*/ 304850 h 305246"/>
                  <a:gd name="connsiteX3" fmla="*/ 204595 w 397284"/>
                  <a:gd name="connsiteY3" fmla="*/ 275446 h 305246"/>
                  <a:gd name="connsiteX4" fmla="*/ 191898 w 397284"/>
                  <a:gd name="connsiteY4" fmla="*/ 275669 h 305246"/>
                  <a:gd name="connsiteX5" fmla="*/ 143781 w 397284"/>
                  <a:gd name="connsiteY5" fmla="*/ 301509 h 305246"/>
                  <a:gd name="connsiteX6" fmla="*/ 15024 w 397284"/>
                  <a:gd name="connsiteY6" fmla="*/ 251610 h 305246"/>
                  <a:gd name="connsiteX7" fmla="*/ 99 w 397284"/>
                  <a:gd name="connsiteY7" fmla="*/ 195474 h 305246"/>
                  <a:gd name="connsiteX8" fmla="*/ 99 w 397284"/>
                  <a:gd name="connsiteY8" fmla="*/ 21942 h 305246"/>
                  <a:gd name="connsiteX9" fmla="*/ 21261 w 397284"/>
                  <a:gd name="connsiteY9" fmla="*/ 780 h 305246"/>
                  <a:gd name="connsiteX10" fmla="*/ 40196 w 397284"/>
                  <a:gd name="connsiteY10" fmla="*/ 780 h 305246"/>
                  <a:gd name="connsiteX11" fmla="*/ 60022 w 397284"/>
                  <a:gd name="connsiteY11" fmla="*/ 20606 h 305246"/>
                  <a:gd name="connsiteX12" fmla="*/ 60022 w 397284"/>
                  <a:gd name="connsiteY12" fmla="*/ 58921 h 305246"/>
                  <a:gd name="connsiteX13" fmla="*/ 60022 w 397284"/>
                  <a:gd name="connsiteY13" fmla="*/ 192801 h 305246"/>
                  <a:gd name="connsiteX14" fmla="*/ 94996 w 397284"/>
                  <a:gd name="connsiteY14" fmla="*/ 245373 h 305246"/>
                  <a:gd name="connsiteX15" fmla="*/ 168953 w 397284"/>
                  <a:gd name="connsiteY15" fmla="*/ 190128 h 305246"/>
                  <a:gd name="connsiteX16" fmla="*/ 168953 w 397284"/>
                  <a:gd name="connsiteY16" fmla="*/ 22165 h 305246"/>
                  <a:gd name="connsiteX17" fmla="*/ 190561 w 397284"/>
                  <a:gd name="connsiteY17" fmla="*/ 557 h 305246"/>
                  <a:gd name="connsiteX18" fmla="*/ 209941 w 397284"/>
                  <a:gd name="connsiteY18" fmla="*/ 557 h 305246"/>
                  <a:gd name="connsiteX19" fmla="*/ 228208 w 397284"/>
                  <a:gd name="connsiteY19" fmla="*/ 18155 h 305246"/>
                  <a:gd name="connsiteX20" fmla="*/ 228431 w 397284"/>
                  <a:gd name="connsiteY20" fmla="*/ 24170 h 305246"/>
                  <a:gd name="connsiteX21" fmla="*/ 228431 w 397284"/>
                  <a:gd name="connsiteY21" fmla="*/ 189905 h 305246"/>
                  <a:gd name="connsiteX22" fmla="*/ 248479 w 397284"/>
                  <a:gd name="connsiteY22" fmla="*/ 237576 h 305246"/>
                  <a:gd name="connsiteX23" fmla="*/ 307288 w 397284"/>
                  <a:gd name="connsiteY23" fmla="*/ 243145 h 305246"/>
                  <a:gd name="connsiteX24" fmla="*/ 337139 w 397284"/>
                  <a:gd name="connsiteY24" fmla="*/ 193692 h 305246"/>
                  <a:gd name="connsiteX25" fmla="*/ 337139 w 397284"/>
                  <a:gd name="connsiteY25" fmla="*/ 23501 h 305246"/>
                  <a:gd name="connsiteX26" fmla="*/ 338698 w 397284"/>
                  <a:gd name="connsiteY26" fmla="*/ 11918 h 305246"/>
                  <a:gd name="connsiteX27" fmla="*/ 354291 w 397284"/>
                  <a:gd name="connsiteY27" fmla="*/ 334 h 305246"/>
                  <a:gd name="connsiteX28" fmla="*/ 380355 w 397284"/>
                  <a:gd name="connsiteY28" fmla="*/ 334 h 305246"/>
                  <a:gd name="connsiteX29" fmla="*/ 397062 w 397284"/>
                  <a:gd name="connsiteY29" fmla="*/ 19492 h 305246"/>
                  <a:gd name="connsiteX30" fmla="*/ 397284 w 397284"/>
                  <a:gd name="connsiteY30" fmla="*/ 109933 h 3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97284" h="305246">
                    <a:moveTo>
                      <a:pt x="397284" y="109933"/>
                    </a:moveTo>
                    <a:lnTo>
                      <a:pt x="397284" y="192801"/>
                    </a:lnTo>
                    <a:cubicBezTo>
                      <a:pt x="397284" y="255397"/>
                      <a:pt x="354291" y="301063"/>
                      <a:pt x="291695" y="304850"/>
                    </a:cubicBezTo>
                    <a:cubicBezTo>
                      <a:pt x="258503" y="306855"/>
                      <a:pt x="229099" y="298613"/>
                      <a:pt x="204595" y="275446"/>
                    </a:cubicBezTo>
                    <a:cubicBezTo>
                      <a:pt x="200140" y="271213"/>
                      <a:pt x="197244" y="271436"/>
                      <a:pt x="191898" y="275669"/>
                    </a:cubicBezTo>
                    <a:cubicBezTo>
                      <a:pt x="177418" y="287252"/>
                      <a:pt x="161825" y="296831"/>
                      <a:pt x="143781" y="301509"/>
                    </a:cubicBezTo>
                    <a:cubicBezTo>
                      <a:pt x="96778" y="313315"/>
                      <a:pt x="40865" y="297277"/>
                      <a:pt x="15024" y="251610"/>
                    </a:cubicBezTo>
                    <a:cubicBezTo>
                      <a:pt x="5223" y="234235"/>
                      <a:pt x="99" y="215300"/>
                      <a:pt x="99" y="195474"/>
                    </a:cubicBezTo>
                    <a:cubicBezTo>
                      <a:pt x="-124" y="137556"/>
                      <a:pt x="99" y="79860"/>
                      <a:pt x="99" y="21942"/>
                    </a:cubicBezTo>
                    <a:cubicBezTo>
                      <a:pt x="99" y="7685"/>
                      <a:pt x="7005" y="1002"/>
                      <a:pt x="21261" y="780"/>
                    </a:cubicBezTo>
                    <a:cubicBezTo>
                      <a:pt x="27499" y="780"/>
                      <a:pt x="33959" y="780"/>
                      <a:pt x="40196" y="780"/>
                    </a:cubicBezTo>
                    <a:cubicBezTo>
                      <a:pt x="52671" y="1002"/>
                      <a:pt x="59799" y="7908"/>
                      <a:pt x="60022" y="20606"/>
                    </a:cubicBezTo>
                    <a:cubicBezTo>
                      <a:pt x="60245" y="33303"/>
                      <a:pt x="60022" y="46223"/>
                      <a:pt x="60022" y="58921"/>
                    </a:cubicBezTo>
                    <a:cubicBezTo>
                      <a:pt x="60022" y="103473"/>
                      <a:pt x="60022" y="148248"/>
                      <a:pt x="60022" y="192801"/>
                    </a:cubicBezTo>
                    <a:cubicBezTo>
                      <a:pt x="60022" y="217973"/>
                      <a:pt x="73165" y="238467"/>
                      <a:pt x="94996" y="245373"/>
                    </a:cubicBezTo>
                    <a:cubicBezTo>
                      <a:pt x="131306" y="257179"/>
                      <a:pt x="168953" y="237131"/>
                      <a:pt x="168953" y="190128"/>
                    </a:cubicBezTo>
                    <a:cubicBezTo>
                      <a:pt x="169176" y="134214"/>
                      <a:pt x="168953" y="78301"/>
                      <a:pt x="168953" y="22165"/>
                    </a:cubicBezTo>
                    <a:cubicBezTo>
                      <a:pt x="168953" y="6794"/>
                      <a:pt x="175190" y="557"/>
                      <a:pt x="190561" y="557"/>
                    </a:cubicBezTo>
                    <a:cubicBezTo>
                      <a:pt x="197021" y="557"/>
                      <a:pt x="203481" y="334"/>
                      <a:pt x="209941" y="557"/>
                    </a:cubicBezTo>
                    <a:cubicBezTo>
                      <a:pt x="220857" y="1002"/>
                      <a:pt x="227317" y="7017"/>
                      <a:pt x="228208" y="18155"/>
                    </a:cubicBezTo>
                    <a:cubicBezTo>
                      <a:pt x="228431" y="20160"/>
                      <a:pt x="228431" y="22165"/>
                      <a:pt x="228431" y="24170"/>
                    </a:cubicBezTo>
                    <a:cubicBezTo>
                      <a:pt x="228431" y="80083"/>
                      <a:pt x="228431" y="133769"/>
                      <a:pt x="228431" y="189905"/>
                    </a:cubicBezTo>
                    <a:cubicBezTo>
                      <a:pt x="228431" y="207949"/>
                      <a:pt x="233331" y="226438"/>
                      <a:pt x="248479" y="237576"/>
                    </a:cubicBezTo>
                    <a:cubicBezTo>
                      <a:pt x="266746" y="251165"/>
                      <a:pt x="287017" y="252278"/>
                      <a:pt x="307288" y="243145"/>
                    </a:cubicBezTo>
                    <a:cubicBezTo>
                      <a:pt x="328005" y="233789"/>
                      <a:pt x="336916" y="215745"/>
                      <a:pt x="337139" y="193692"/>
                    </a:cubicBezTo>
                    <a:cubicBezTo>
                      <a:pt x="337584" y="137110"/>
                      <a:pt x="337361" y="80306"/>
                      <a:pt x="337139" y="23501"/>
                    </a:cubicBezTo>
                    <a:cubicBezTo>
                      <a:pt x="337139" y="19492"/>
                      <a:pt x="337361" y="15705"/>
                      <a:pt x="338698" y="11918"/>
                    </a:cubicBezTo>
                    <a:cubicBezTo>
                      <a:pt x="341148" y="4567"/>
                      <a:pt x="346717" y="780"/>
                      <a:pt x="354291" y="334"/>
                    </a:cubicBezTo>
                    <a:cubicBezTo>
                      <a:pt x="362979" y="-111"/>
                      <a:pt x="371667" y="-111"/>
                      <a:pt x="380355" y="334"/>
                    </a:cubicBezTo>
                    <a:cubicBezTo>
                      <a:pt x="390824" y="1002"/>
                      <a:pt x="397062" y="8354"/>
                      <a:pt x="397062" y="19492"/>
                    </a:cubicBezTo>
                    <a:cubicBezTo>
                      <a:pt x="397284" y="49787"/>
                      <a:pt x="397284" y="79860"/>
                      <a:pt x="397284" y="109933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5" name="Graphic 13">
                <a:extLst>
                  <a:ext uri="{FF2B5EF4-FFF2-40B4-BE49-F238E27FC236}">
                    <a16:creationId xmlns:a16="http://schemas.microsoft.com/office/drawing/2014/main" id="{BF82BE53-D7D9-4E19-B2D9-B9C96EA5D739}"/>
                  </a:ext>
                </a:extLst>
              </p:cNvPr>
              <p:cNvSpPr/>
              <p:nvPr/>
            </p:nvSpPr>
            <p:spPr>
              <a:xfrm>
                <a:off x="859760" y="1137519"/>
                <a:ext cx="244815" cy="449808"/>
              </a:xfrm>
              <a:custGeom>
                <a:avLst/>
                <a:gdLst>
                  <a:gd name="connsiteX0" fmla="*/ 244816 w 244815"/>
                  <a:gd name="connsiteY0" fmla="*/ 225041 h 449808"/>
                  <a:gd name="connsiteX1" fmla="*/ 244816 w 244815"/>
                  <a:gd name="connsiteY1" fmla="*/ 427977 h 449808"/>
                  <a:gd name="connsiteX2" fmla="*/ 223208 w 244815"/>
                  <a:gd name="connsiteY2" fmla="*/ 449808 h 449808"/>
                  <a:gd name="connsiteX3" fmla="*/ 207615 w 244815"/>
                  <a:gd name="connsiteY3" fmla="*/ 449808 h 449808"/>
                  <a:gd name="connsiteX4" fmla="*/ 184893 w 244815"/>
                  <a:gd name="connsiteY4" fmla="*/ 426864 h 449808"/>
                  <a:gd name="connsiteX5" fmla="*/ 184893 w 244815"/>
                  <a:gd name="connsiteY5" fmla="*/ 309691 h 449808"/>
                  <a:gd name="connsiteX6" fmla="*/ 184893 w 244815"/>
                  <a:gd name="connsiteY6" fmla="*/ 306349 h 449808"/>
                  <a:gd name="connsiteX7" fmla="*/ 176428 w 244815"/>
                  <a:gd name="connsiteY7" fmla="*/ 297884 h 449808"/>
                  <a:gd name="connsiteX8" fmla="*/ 110936 w 244815"/>
                  <a:gd name="connsiteY8" fmla="*/ 297884 h 449808"/>
                  <a:gd name="connsiteX9" fmla="*/ 0 w 244815"/>
                  <a:gd name="connsiteY9" fmla="*/ 186948 h 449808"/>
                  <a:gd name="connsiteX10" fmla="*/ 0 w 244815"/>
                  <a:gd name="connsiteY10" fmla="*/ 110318 h 449808"/>
                  <a:gd name="connsiteX11" fmla="*/ 101134 w 244815"/>
                  <a:gd name="connsiteY11" fmla="*/ 942 h 449808"/>
                  <a:gd name="connsiteX12" fmla="*/ 173309 w 244815"/>
                  <a:gd name="connsiteY12" fmla="*/ 273 h 449808"/>
                  <a:gd name="connsiteX13" fmla="*/ 223876 w 244815"/>
                  <a:gd name="connsiteY13" fmla="*/ 273 h 449808"/>
                  <a:gd name="connsiteX14" fmla="*/ 244816 w 244815"/>
                  <a:gd name="connsiteY14" fmla="*/ 20990 h 449808"/>
                  <a:gd name="connsiteX15" fmla="*/ 244816 w 244815"/>
                  <a:gd name="connsiteY15" fmla="*/ 225041 h 449808"/>
                  <a:gd name="connsiteX16" fmla="*/ 184893 w 244815"/>
                  <a:gd name="connsiteY16" fmla="*/ 148856 h 449808"/>
                  <a:gd name="connsiteX17" fmla="*/ 184893 w 244815"/>
                  <a:gd name="connsiteY17" fmla="*/ 64429 h 449808"/>
                  <a:gd name="connsiteX18" fmla="*/ 177764 w 244815"/>
                  <a:gd name="connsiteY18" fmla="*/ 56410 h 449808"/>
                  <a:gd name="connsiteX19" fmla="*/ 111604 w 244815"/>
                  <a:gd name="connsiteY19" fmla="*/ 56410 h 449808"/>
                  <a:gd name="connsiteX20" fmla="*/ 59923 w 244815"/>
                  <a:gd name="connsiteY20" fmla="*/ 105640 h 449808"/>
                  <a:gd name="connsiteX21" fmla="*/ 59700 w 244815"/>
                  <a:gd name="connsiteY21" fmla="*/ 188285 h 449808"/>
                  <a:gd name="connsiteX22" fmla="*/ 116728 w 244815"/>
                  <a:gd name="connsiteY22" fmla="*/ 240857 h 449808"/>
                  <a:gd name="connsiteX23" fmla="*/ 174423 w 244815"/>
                  <a:gd name="connsiteY23" fmla="*/ 240857 h 449808"/>
                  <a:gd name="connsiteX24" fmla="*/ 184670 w 244815"/>
                  <a:gd name="connsiteY24" fmla="*/ 230833 h 449808"/>
                  <a:gd name="connsiteX25" fmla="*/ 184670 w 244815"/>
                  <a:gd name="connsiteY25" fmla="*/ 148856 h 449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44815" h="449808">
                    <a:moveTo>
                      <a:pt x="244816" y="225041"/>
                    </a:moveTo>
                    <a:lnTo>
                      <a:pt x="244816" y="427977"/>
                    </a:lnTo>
                    <a:cubicBezTo>
                      <a:pt x="244816" y="443125"/>
                      <a:pt x="238356" y="449585"/>
                      <a:pt x="223208" y="449808"/>
                    </a:cubicBezTo>
                    <a:cubicBezTo>
                      <a:pt x="218084" y="449808"/>
                      <a:pt x="212738" y="449808"/>
                      <a:pt x="207615" y="449808"/>
                    </a:cubicBezTo>
                    <a:cubicBezTo>
                      <a:pt x="191130" y="449808"/>
                      <a:pt x="184893" y="443348"/>
                      <a:pt x="184893" y="426864"/>
                    </a:cubicBezTo>
                    <a:cubicBezTo>
                      <a:pt x="184893" y="387880"/>
                      <a:pt x="184893" y="348674"/>
                      <a:pt x="184893" y="309691"/>
                    </a:cubicBezTo>
                    <a:cubicBezTo>
                      <a:pt x="184893" y="308577"/>
                      <a:pt x="184893" y="307463"/>
                      <a:pt x="184893" y="306349"/>
                    </a:cubicBezTo>
                    <a:cubicBezTo>
                      <a:pt x="184893" y="299221"/>
                      <a:pt x="183556" y="297884"/>
                      <a:pt x="176428" y="297884"/>
                    </a:cubicBezTo>
                    <a:cubicBezTo>
                      <a:pt x="154597" y="297884"/>
                      <a:pt x="132766" y="297884"/>
                      <a:pt x="110936" y="297884"/>
                    </a:cubicBezTo>
                    <a:cubicBezTo>
                      <a:pt x="48562" y="297884"/>
                      <a:pt x="0" y="249322"/>
                      <a:pt x="0" y="186948"/>
                    </a:cubicBezTo>
                    <a:cubicBezTo>
                      <a:pt x="0" y="161331"/>
                      <a:pt x="0" y="135713"/>
                      <a:pt x="0" y="110318"/>
                    </a:cubicBezTo>
                    <a:cubicBezTo>
                      <a:pt x="0" y="51732"/>
                      <a:pt x="42770" y="5397"/>
                      <a:pt x="101134" y="942"/>
                    </a:cubicBezTo>
                    <a:cubicBezTo>
                      <a:pt x="125192" y="-840"/>
                      <a:pt x="149251" y="496"/>
                      <a:pt x="173309" y="273"/>
                    </a:cubicBezTo>
                    <a:cubicBezTo>
                      <a:pt x="190239" y="51"/>
                      <a:pt x="206946" y="273"/>
                      <a:pt x="223876" y="273"/>
                    </a:cubicBezTo>
                    <a:cubicBezTo>
                      <a:pt x="237910" y="273"/>
                      <a:pt x="244816" y="7179"/>
                      <a:pt x="244816" y="20990"/>
                    </a:cubicBezTo>
                    <a:cubicBezTo>
                      <a:pt x="244816" y="88710"/>
                      <a:pt x="244816" y="156875"/>
                      <a:pt x="244816" y="225041"/>
                    </a:cubicBezTo>
                    <a:moveTo>
                      <a:pt x="184893" y="148856"/>
                    </a:moveTo>
                    <a:cubicBezTo>
                      <a:pt x="184893" y="120788"/>
                      <a:pt x="184893" y="92497"/>
                      <a:pt x="184893" y="64429"/>
                    </a:cubicBezTo>
                    <a:cubicBezTo>
                      <a:pt x="184893" y="57969"/>
                      <a:pt x="183556" y="56410"/>
                      <a:pt x="177764" y="56410"/>
                    </a:cubicBezTo>
                    <a:cubicBezTo>
                      <a:pt x="155711" y="56410"/>
                      <a:pt x="133658" y="55964"/>
                      <a:pt x="111604" y="56410"/>
                    </a:cubicBezTo>
                    <a:cubicBezTo>
                      <a:pt x="84650" y="57078"/>
                      <a:pt x="61705" y="78686"/>
                      <a:pt x="59923" y="105640"/>
                    </a:cubicBezTo>
                    <a:cubicBezTo>
                      <a:pt x="58141" y="133263"/>
                      <a:pt x="58364" y="160885"/>
                      <a:pt x="59700" y="188285"/>
                    </a:cubicBezTo>
                    <a:cubicBezTo>
                      <a:pt x="61260" y="221922"/>
                      <a:pt x="83090" y="240857"/>
                      <a:pt x="116728" y="240857"/>
                    </a:cubicBezTo>
                    <a:cubicBezTo>
                      <a:pt x="135885" y="240857"/>
                      <a:pt x="155265" y="240857"/>
                      <a:pt x="174423" y="240857"/>
                    </a:cubicBezTo>
                    <a:cubicBezTo>
                      <a:pt x="184002" y="240857"/>
                      <a:pt x="184670" y="240189"/>
                      <a:pt x="184670" y="230833"/>
                    </a:cubicBezTo>
                    <a:lnTo>
                      <a:pt x="184670" y="148856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6" name="Graphic 13">
                <a:extLst>
                  <a:ext uri="{FF2B5EF4-FFF2-40B4-BE49-F238E27FC236}">
                    <a16:creationId xmlns:a16="http://schemas.microsoft.com/office/drawing/2014/main" id="{E93A169D-5CC1-4C80-80C0-E4FA8A9A19F3}"/>
                  </a:ext>
                </a:extLst>
              </p:cNvPr>
              <p:cNvSpPr/>
              <p:nvPr/>
            </p:nvSpPr>
            <p:spPr>
              <a:xfrm>
                <a:off x="1483718" y="1137124"/>
                <a:ext cx="244815" cy="304629"/>
              </a:xfrm>
              <a:custGeom>
                <a:avLst/>
                <a:gdLst>
                  <a:gd name="connsiteX0" fmla="*/ 244816 w 244815"/>
                  <a:gd name="connsiteY0" fmla="*/ 149028 h 304629"/>
                  <a:gd name="connsiteX1" fmla="*/ 244816 w 244815"/>
                  <a:gd name="connsiteY1" fmla="*/ 275334 h 304629"/>
                  <a:gd name="connsiteX2" fmla="*/ 222317 w 244815"/>
                  <a:gd name="connsiteY2" fmla="*/ 298056 h 304629"/>
                  <a:gd name="connsiteX3" fmla="*/ 205610 w 244815"/>
                  <a:gd name="connsiteY3" fmla="*/ 298056 h 304629"/>
                  <a:gd name="connsiteX4" fmla="*/ 184893 w 244815"/>
                  <a:gd name="connsiteY4" fmla="*/ 279567 h 304629"/>
                  <a:gd name="connsiteX5" fmla="*/ 181997 w 244815"/>
                  <a:gd name="connsiteY5" fmla="*/ 273998 h 304629"/>
                  <a:gd name="connsiteX6" fmla="*/ 176428 w 244815"/>
                  <a:gd name="connsiteY6" fmla="*/ 276448 h 304629"/>
                  <a:gd name="connsiteX7" fmla="*/ 126084 w 244815"/>
                  <a:gd name="connsiteY7" fmla="*/ 302957 h 304629"/>
                  <a:gd name="connsiteX8" fmla="*/ 50344 w 244815"/>
                  <a:gd name="connsiteY8" fmla="*/ 289146 h 304629"/>
                  <a:gd name="connsiteX9" fmla="*/ 2450 w 244815"/>
                  <a:gd name="connsiteY9" fmla="*/ 213406 h 304629"/>
                  <a:gd name="connsiteX10" fmla="*/ 0 w 244815"/>
                  <a:gd name="connsiteY10" fmla="*/ 186452 h 304629"/>
                  <a:gd name="connsiteX11" fmla="*/ 0 w 244815"/>
                  <a:gd name="connsiteY11" fmla="*/ 124747 h 304629"/>
                  <a:gd name="connsiteX12" fmla="*/ 107372 w 244815"/>
                  <a:gd name="connsiteY12" fmla="*/ 1114 h 304629"/>
                  <a:gd name="connsiteX13" fmla="*/ 123410 w 244815"/>
                  <a:gd name="connsiteY13" fmla="*/ 0 h 304629"/>
                  <a:gd name="connsiteX14" fmla="*/ 222317 w 244815"/>
                  <a:gd name="connsiteY14" fmla="*/ 0 h 304629"/>
                  <a:gd name="connsiteX15" fmla="*/ 244816 w 244815"/>
                  <a:gd name="connsiteY15" fmla="*/ 22722 h 304629"/>
                  <a:gd name="connsiteX16" fmla="*/ 244816 w 244815"/>
                  <a:gd name="connsiteY16" fmla="*/ 149028 h 304629"/>
                  <a:gd name="connsiteX17" fmla="*/ 184893 w 244815"/>
                  <a:gd name="connsiteY17" fmla="*/ 122965 h 304629"/>
                  <a:gd name="connsiteX18" fmla="*/ 185116 w 244815"/>
                  <a:gd name="connsiteY18" fmla="*/ 122965 h 304629"/>
                  <a:gd name="connsiteX19" fmla="*/ 185116 w 244815"/>
                  <a:gd name="connsiteY19" fmla="*/ 64601 h 304629"/>
                  <a:gd name="connsiteX20" fmla="*/ 177987 w 244815"/>
                  <a:gd name="connsiteY20" fmla="*/ 56582 h 304629"/>
                  <a:gd name="connsiteX21" fmla="*/ 124079 w 244815"/>
                  <a:gd name="connsiteY21" fmla="*/ 56582 h 304629"/>
                  <a:gd name="connsiteX22" fmla="*/ 60591 w 244815"/>
                  <a:gd name="connsiteY22" fmla="*/ 116505 h 304629"/>
                  <a:gd name="connsiteX23" fmla="*/ 60146 w 244815"/>
                  <a:gd name="connsiteY23" fmla="*/ 196031 h 304629"/>
                  <a:gd name="connsiteX24" fmla="*/ 81531 w 244815"/>
                  <a:gd name="connsiteY24" fmla="*/ 237910 h 304629"/>
                  <a:gd name="connsiteX25" fmla="*/ 134326 w 244815"/>
                  <a:gd name="connsiteY25" fmla="*/ 245930 h 304629"/>
                  <a:gd name="connsiteX26" fmla="*/ 185116 w 244815"/>
                  <a:gd name="connsiteY26" fmla="*/ 181329 h 304629"/>
                  <a:gd name="connsiteX27" fmla="*/ 184893 w 244815"/>
                  <a:gd name="connsiteY27" fmla="*/ 122965 h 304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44815" h="304629">
                    <a:moveTo>
                      <a:pt x="244816" y="149028"/>
                    </a:moveTo>
                    <a:cubicBezTo>
                      <a:pt x="244816" y="191130"/>
                      <a:pt x="244816" y="233232"/>
                      <a:pt x="244816" y="275334"/>
                    </a:cubicBezTo>
                    <a:cubicBezTo>
                      <a:pt x="244816" y="291596"/>
                      <a:pt x="238579" y="298056"/>
                      <a:pt x="222317" y="298056"/>
                    </a:cubicBezTo>
                    <a:cubicBezTo>
                      <a:pt x="216748" y="298056"/>
                      <a:pt x="211179" y="298056"/>
                      <a:pt x="205610" y="298056"/>
                    </a:cubicBezTo>
                    <a:cubicBezTo>
                      <a:pt x="193581" y="298056"/>
                      <a:pt x="186229" y="291596"/>
                      <a:pt x="184893" y="279567"/>
                    </a:cubicBezTo>
                    <a:cubicBezTo>
                      <a:pt x="184670" y="277339"/>
                      <a:pt x="184447" y="275112"/>
                      <a:pt x="181997" y="273998"/>
                    </a:cubicBezTo>
                    <a:cubicBezTo>
                      <a:pt x="179324" y="272884"/>
                      <a:pt x="177764" y="274889"/>
                      <a:pt x="176428" y="276448"/>
                    </a:cubicBezTo>
                    <a:cubicBezTo>
                      <a:pt x="163508" y="292487"/>
                      <a:pt x="145909" y="300061"/>
                      <a:pt x="126084" y="302957"/>
                    </a:cubicBezTo>
                    <a:cubicBezTo>
                      <a:pt x="99352" y="306967"/>
                      <a:pt x="73512" y="304294"/>
                      <a:pt x="50344" y="289146"/>
                    </a:cubicBezTo>
                    <a:cubicBezTo>
                      <a:pt x="22722" y="271325"/>
                      <a:pt x="8910" y="244816"/>
                      <a:pt x="2450" y="213406"/>
                    </a:cubicBezTo>
                    <a:cubicBezTo>
                      <a:pt x="668" y="204496"/>
                      <a:pt x="0" y="195363"/>
                      <a:pt x="0" y="186452"/>
                    </a:cubicBezTo>
                    <a:cubicBezTo>
                      <a:pt x="223" y="165958"/>
                      <a:pt x="0" y="145241"/>
                      <a:pt x="0" y="124747"/>
                    </a:cubicBezTo>
                    <a:cubicBezTo>
                      <a:pt x="0" y="60814"/>
                      <a:pt x="44107" y="10024"/>
                      <a:pt x="107372" y="1114"/>
                    </a:cubicBezTo>
                    <a:cubicBezTo>
                      <a:pt x="112718" y="446"/>
                      <a:pt x="118064" y="0"/>
                      <a:pt x="123410" y="0"/>
                    </a:cubicBezTo>
                    <a:cubicBezTo>
                      <a:pt x="156379" y="0"/>
                      <a:pt x="189348" y="0"/>
                      <a:pt x="222317" y="0"/>
                    </a:cubicBezTo>
                    <a:cubicBezTo>
                      <a:pt x="238356" y="0"/>
                      <a:pt x="244816" y="6460"/>
                      <a:pt x="244816" y="22722"/>
                    </a:cubicBezTo>
                    <a:cubicBezTo>
                      <a:pt x="244816" y="64824"/>
                      <a:pt x="244816" y="106926"/>
                      <a:pt x="244816" y="149028"/>
                    </a:cubicBezTo>
                    <a:moveTo>
                      <a:pt x="184893" y="122965"/>
                    </a:moveTo>
                    <a:lnTo>
                      <a:pt x="185116" y="122965"/>
                    </a:lnTo>
                    <a:cubicBezTo>
                      <a:pt x="185116" y="103585"/>
                      <a:pt x="185116" y="83981"/>
                      <a:pt x="185116" y="64601"/>
                    </a:cubicBezTo>
                    <a:cubicBezTo>
                      <a:pt x="185116" y="58141"/>
                      <a:pt x="183556" y="56582"/>
                      <a:pt x="177987" y="56582"/>
                    </a:cubicBezTo>
                    <a:cubicBezTo>
                      <a:pt x="159943" y="56582"/>
                      <a:pt x="142122" y="56136"/>
                      <a:pt x="124079" y="56582"/>
                    </a:cubicBezTo>
                    <a:cubicBezTo>
                      <a:pt x="90219" y="57473"/>
                      <a:pt x="63042" y="82645"/>
                      <a:pt x="60591" y="116505"/>
                    </a:cubicBezTo>
                    <a:cubicBezTo>
                      <a:pt x="58586" y="143014"/>
                      <a:pt x="59700" y="169522"/>
                      <a:pt x="60146" y="196031"/>
                    </a:cubicBezTo>
                    <a:cubicBezTo>
                      <a:pt x="60591" y="212961"/>
                      <a:pt x="67274" y="227886"/>
                      <a:pt x="81531" y="237910"/>
                    </a:cubicBezTo>
                    <a:cubicBezTo>
                      <a:pt x="97570" y="249494"/>
                      <a:pt x="115836" y="249940"/>
                      <a:pt x="134326" y="245930"/>
                    </a:cubicBezTo>
                    <a:cubicBezTo>
                      <a:pt x="162839" y="239470"/>
                      <a:pt x="184002" y="212293"/>
                      <a:pt x="185116" y="181329"/>
                    </a:cubicBezTo>
                    <a:cubicBezTo>
                      <a:pt x="185338" y="161948"/>
                      <a:pt x="184893" y="142345"/>
                      <a:pt x="184893" y="122965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7" name="Graphic 13">
                <a:extLst>
                  <a:ext uri="{FF2B5EF4-FFF2-40B4-BE49-F238E27FC236}">
                    <a16:creationId xmlns:a16="http://schemas.microsoft.com/office/drawing/2014/main" id="{50359465-B6D4-4095-B0C7-C985B97B4AC7}"/>
                  </a:ext>
                </a:extLst>
              </p:cNvPr>
              <p:cNvSpPr/>
              <p:nvPr/>
            </p:nvSpPr>
            <p:spPr>
              <a:xfrm>
                <a:off x="2004481" y="1559621"/>
                <a:ext cx="235169" cy="311281"/>
              </a:xfrm>
              <a:custGeom>
                <a:avLst/>
                <a:gdLst>
                  <a:gd name="connsiteX0" fmla="*/ 142178 w 235169"/>
                  <a:gd name="connsiteY0" fmla="*/ 177180 h 311281"/>
                  <a:gd name="connsiteX1" fmla="*/ 69335 w 235169"/>
                  <a:gd name="connsiteY1" fmla="*/ 177180 h 311281"/>
                  <a:gd name="connsiteX2" fmla="*/ 60424 w 235169"/>
                  <a:gd name="connsiteY2" fmla="*/ 186313 h 311281"/>
                  <a:gd name="connsiteX3" fmla="*/ 63098 w 235169"/>
                  <a:gd name="connsiteY3" fmla="*/ 215495 h 311281"/>
                  <a:gd name="connsiteX4" fmla="*/ 117229 w 235169"/>
                  <a:gd name="connsiteY4" fmla="*/ 255146 h 311281"/>
                  <a:gd name="connsiteX5" fmla="*/ 182053 w 235169"/>
                  <a:gd name="connsiteY5" fmla="*/ 229306 h 311281"/>
                  <a:gd name="connsiteX6" fmla="*/ 210343 w 235169"/>
                  <a:gd name="connsiteY6" fmla="*/ 228861 h 311281"/>
                  <a:gd name="connsiteX7" fmla="*/ 221036 w 235169"/>
                  <a:gd name="connsiteY7" fmla="*/ 238439 h 311281"/>
                  <a:gd name="connsiteX8" fmla="*/ 224377 w 235169"/>
                  <a:gd name="connsiteY8" fmla="*/ 264280 h 311281"/>
                  <a:gd name="connsiteX9" fmla="*/ 217249 w 235169"/>
                  <a:gd name="connsiteY9" fmla="*/ 272745 h 311281"/>
                  <a:gd name="connsiteX10" fmla="*/ 130595 w 235169"/>
                  <a:gd name="connsiteY10" fmla="*/ 311060 h 311281"/>
                  <a:gd name="connsiteX11" fmla="*/ 42158 w 235169"/>
                  <a:gd name="connsiteY11" fmla="*/ 285219 h 311281"/>
                  <a:gd name="connsiteX12" fmla="*/ 501 w 235169"/>
                  <a:gd name="connsiteY12" fmla="*/ 198565 h 311281"/>
                  <a:gd name="connsiteX13" fmla="*/ 501 w 235169"/>
                  <a:gd name="connsiteY13" fmla="*/ 114138 h 311281"/>
                  <a:gd name="connsiteX14" fmla="*/ 68444 w 235169"/>
                  <a:gd name="connsiteY14" fmla="*/ 8994 h 311281"/>
                  <a:gd name="connsiteX15" fmla="*/ 211457 w 235169"/>
                  <a:gd name="connsiteY15" fmla="*/ 44191 h 311281"/>
                  <a:gd name="connsiteX16" fmla="*/ 235070 w 235169"/>
                  <a:gd name="connsiteY16" fmla="*/ 113247 h 311281"/>
                  <a:gd name="connsiteX17" fmla="*/ 235070 w 235169"/>
                  <a:gd name="connsiteY17" fmla="*/ 156686 h 311281"/>
                  <a:gd name="connsiteX18" fmla="*/ 214576 w 235169"/>
                  <a:gd name="connsiteY18" fmla="*/ 177180 h 311281"/>
                  <a:gd name="connsiteX19" fmla="*/ 142178 w 235169"/>
                  <a:gd name="connsiteY19" fmla="*/ 177180 h 311281"/>
                  <a:gd name="connsiteX20" fmla="*/ 117674 w 235169"/>
                  <a:gd name="connsiteY20" fmla="*/ 127281 h 311281"/>
                  <a:gd name="connsiteX21" fmla="*/ 168241 w 235169"/>
                  <a:gd name="connsiteY21" fmla="*/ 127281 h 311281"/>
                  <a:gd name="connsiteX22" fmla="*/ 175815 w 235169"/>
                  <a:gd name="connsiteY22" fmla="*/ 119707 h 311281"/>
                  <a:gd name="connsiteX23" fmla="*/ 174701 w 235169"/>
                  <a:gd name="connsiteY23" fmla="*/ 104782 h 311281"/>
                  <a:gd name="connsiteX24" fmla="*/ 138837 w 235169"/>
                  <a:gd name="connsiteY24" fmla="*/ 59784 h 311281"/>
                  <a:gd name="connsiteX25" fmla="*/ 101413 w 235169"/>
                  <a:gd name="connsiteY25" fmla="*/ 58225 h 311281"/>
                  <a:gd name="connsiteX26" fmla="*/ 66662 w 235169"/>
                  <a:gd name="connsiteY26" fmla="*/ 85624 h 311281"/>
                  <a:gd name="connsiteX27" fmla="*/ 60202 w 235169"/>
                  <a:gd name="connsiteY27" fmla="*/ 119707 h 311281"/>
                  <a:gd name="connsiteX28" fmla="*/ 68221 w 235169"/>
                  <a:gd name="connsiteY28" fmla="*/ 127504 h 311281"/>
                  <a:gd name="connsiteX29" fmla="*/ 117674 w 235169"/>
                  <a:gd name="connsiteY29" fmla="*/ 127281 h 311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5169" h="311281">
                    <a:moveTo>
                      <a:pt x="142178" y="177180"/>
                    </a:moveTo>
                    <a:cubicBezTo>
                      <a:pt x="117897" y="177180"/>
                      <a:pt x="93616" y="177180"/>
                      <a:pt x="69335" y="177180"/>
                    </a:cubicBezTo>
                    <a:cubicBezTo>
                      <a:pt x="61761" y="177180"/>
                      <a:pt x="60424" y="178516"/>
                      <a:pt x="60424" y="186313"/>
                    </a:cubicBezTo>
                    <a:cubicBezTo>
                      <a:pt x="60424" y="196114"/>
                      <a:pt x="60202" y="205916"/>
                      <a:pt x="63098" y="215495"/>
                    </a:cubicBezTo>
                    <a:cubicBezTo>
                      <a:pt x="70449" y="240222"/>
                      <a:pt x="90052" y="253810"/>
                      <a:pt x="117229" y="255146"/>
                    </a:cubicBezTo>
                    <a:cubicBezTo>
                      <a:pt x="143069" y="256260"/>
                      <a:pt x="164232" y="247795"/>
                      <a:pt x="182053" y="229306"/>
                    </a:cubicBezTo>
                    <a:cubicBezTo>
                      <a:pt x="191186" y="219727"/>
                      <a:pt x="200542" y="219950"/>
                      <a:pt x="210343" y="228861"/>
                    </a:cubicBezTo>
                    <a:cubicBezTo>
                      <a:pt x="213908" y="231979"/>
                      <a:pt x="217472" y="235321"/>
                      <a:pt x="221036" y="238439"/>
                    </a:cubicBezTo>
                    <a:cubicBezTo>
                      <a:pt x="229278" y="246013"/>
                      <a:pt x="230615" y="254924"/>
                      <a:pt x="224377" y="264280"/>
                    </a:cubicBezTo>
                    <a:cubicBezTo>
                      <a:pt x="222373" y="267398"/>
                      <a:pt x="219922" y="270294"/>
                      <a:pt x="217249" y="272745"/>
                    </a:cubicBezTo>
                    <a:cubicBezTo>
                      <a:pt x="193191" y="296358"/>
                      <a:pt x="164454" y="309501"/>
                      <a:pt x="130595" y="311060"/>
                    </a:cubicBezTo>
                    <a:cubicBezTo>
                      <a:pt x="98071" y="312619"/>
                      <a:pt x="67998" y="306159"/>
                      <a:pt x="42158" y="285219"/>
                    </a:cubicBezTo>
                    <a:cubicBezTo>
                      <a:pt x="14758" y="262943"/>
                      <a:pt x="1392" y="233539"/>
                      <a:pt x="501" y="198565"/>
                    </a:cubicBezTo>
                    <a:cubicBezTo>
                      <a:pt x="-167" y="170497"/>
                      <a:pt x="-167" y="142206"/>
                      <a:pt x="501" y="114138"/>
                    </a:cubicBezTo>
                    <a:cubicBezTo>
                      <a:pt x="1615" y="66689"/>
                      <a:pt x="23891" y="26815"/>
                      <a:pt x="68444" y="8994"/>
                    </a:cubicBezTo>
                    <a:cubicBezTo>
                      <a:pt x="112551" y="-8604"/>
                      <a:pt x="176038" y="-2144"/>
                      <a:pt x="211457" y="44191"/>
                    </a:cubicBezTo>
                    <a:cubicBezTo>
                      <a:pt x="227051" y="64462"/>
                      <a:pt x="234625" y="87852"/>
                      <a:pt x="235070" y="113247"/>
                    </a:cubicBezTo>
                    <a:cubicBezTo>
                      <a:pt x="235293" y="127726"/>
                      <a:pt x="235070" y="142206"/>
                      <a:pt x="235070" y="156686"/>
                    </a:cubicBezTo>
                    <a:cubicBezTo>
                      <a:pt x="235070" y="170274"/>
                      <a:pt x="228164" y="177180"/>
                      <a:pt x="214576" y="177180"/>
                    </a:cubicBezTo>
                    <a:cubicBezTo>
                      <a:pt x="190740" y="177402"/>
                      <a:pt x="166459" y="177180"/>
                      <a:pt x="142178" y="177180"/>
                    </a:cubicBezTo>
                    <a:moveTo>
                      <a:pt x="117674" y="127281"/>
                    </a:moveTo>
                    <a:cubicBezTo>
                      <a:pt x="134604" y="127281"/>
                      <a:pt x="151311" y="127281"/>
                      <a:pt x="168241" y="127281"/>
                    </a:cubicBezTo>
                    <a:cubicBezTo>
                      <a:pt x="174033" y="127281"/>
                      <a:pt x="175593" y="125499"/>
                      <a:pt x="175815" y="119707"/>
                    </a:cubicBezTo>
                    <a:cubicBezTo>
                      <a:pt x="176038" y="114806"/>
                      <a:pt x="175815" y="109683"/>
                      <a:pt x="174701" y="104782"/>
                    </a:cubicBezTo>
                    <a:cubicBezTo>
                      <a:pt x="170469" y="83619"/>
                      <a:pt x="161113" y="66467"/>
                      <a:pt x="138837" y="59784"/>
                    </a:cubicBezTo>
                    <a:cubicBezTo>
                      <a:pt x="126585" y="56220"/>
                      <a:pt x="114110" y="56220"/>
                      <a:pt x="101413" y="58225"/>
                    </a:cubicBezTo>
                    <a:cubicBezTo>
                      <a:pt x="84705" y="60898"/>
                      <a:pt x="73345" y="70031"/>
                      <a:pt x="66662" y="85624"/>
                    </a:cubicBezTo>
                    <a:cubicBezTo>
                      <a:pt x="61984" y="96540"/>
                      <a:pt x="59979" y="107901"/>
                      <a:pt x="60202" y="119707"/>
                    </a:cubicBezTo>
                    <a:cubicBezTo>
                      <a:pt x="60424" y="125944"/>
                      <a:pt x="61761" y="127504"/>
                      <a:pt x="68221" y="127504"/>
                    </a:cubicBezTo>
                    <a:cubicBezTo>
                      <a:pt x="84928" y="127281"/>
                      <a:pt x="101413" y="127281"/>
                      <a:pt x="117674" y="127281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5" name="Graphic 13">
                <a:extLst>
                  <a:ext uri="{FF2B5EF4-FFF2-40B4-BE49-F238E27FC236}">
                    <a16:creationId xmlns:a16="http://schemas.microsoft.com/office/drawing/2014/main" id="{9B1B07C6-C182-41EB-8D14-C328507B3385}"/>
                  </a:ext>
                </a:extLst>
              </p:cNvPr>
              <p:cNvSpPr/>
              <p:nvPr/>
            </p:nvSpPr>
            <p:spPr>
              <a:xfrm>
                <a:off x="2003393" y="1130406"/>
                <a:ext cx="235998" cy="311136"/>
              </a:xfrm>
              <a:custGeom>
                <a:avLst/>
                <a:gdLst>
                  <a:gd name="connsiteX0" fmla="*/ 143043 w 235998"/>
                  <a:gd name="connsiteY0" fmla="*/ 176908 h 311136"/>
                  <a:gd name="connsiteX1" fmla="*/ 69754 w 235998"/>
                  <a:gd name="connsiteY1" fmla="*/ 176908 h 311136"/>
                  <a:gd name="connsiteX2" fmla="*/ 60398 w 235998"/>
                  <a:gd name="connsiteY2" fmla="*/ 186264 h 311136"/>
                  <a:gd name="connsiteX3" fmla="*/ 62403 w 235998"/>
                  <a:gd name="connsiteY3" fmla="*/ 212773 h 311136"/>
                  <a:gd name="connsiteX4" fmla="*/ 112970 w 235998"/>
                  <a:gd name="connsiteY4" fmla="*/ 254430 h 311136"/>
                  <a:gd name="connsiteX5" fmla="*/ 182027 w 235998"/>
                  <a:gd name="connsiteY5" fmla="*/ 228812 h 311136"/>
                  <a:gd name="connsiteX6" fmla="*/ 209872 w 235998"/>
                  <a:gd name="connsiteY6" fmla="*/ 228144 h 311136"/>
                  <a:gd name="connsiteX7" fmla="*/ 220564 w 235998"/>
                  <a:gd name="connsiteY7" fmla="*/ 237722 h 311136"/>
                  <a:gd name="connsiteX8" fmla="*/ 223683 w 235998"/>
                  <a:gd name="connsiteY8" fmla="*/ 264899 h 311136"/>
                  <a:gd name="connsiteX9" fmla="*/ 200739 w 235998"/>
                  <a:gd name="connsiteY9" fmla="*/ 286507 h 311136"/>
                  <a:gd name="connsiteX10" fmla="*/ 44582 w 235998"/>
                  <a:gd name="connsiteY10" fmla="*/ 286953 h 311136"/>
                  <a:gd name="connsiteX11" fmla="*/ 921 w 235998"/>
                  <a:gd name="connsiteY11" fmla="*/ 201412 h 311136"/>
                  <a:gd name="connsiteX12" fmla="*/ 921 w 235998"/>
                  <a:gd name="connsiteY12" fmla="*/ 109634 h 311136"/>
                  <a:gd name="connsiteX13" fmla="*/ 103837 w 235998"/>
                  <a:gd name="connsiteY13" fmla="*/ 480 h 311136"/>
                  <a:gd name="connsiteX14" fmla="*/ 200293 w 235998"/>
                  <a:gd name="connsiteY14" fmla="*/ 31222 h 311136"/>
                  <a:gd name="connsiteX15" fmla="*/ 234599 w 235998"/>
                  <a:gd name="connsiteY15" fmla="*/ 100278 h 311136"/>
                  <a:gd name="connsiteX16" fmla="*/ 235712 w 235998"/>
                  <a:gd name="connsiteY16" fmla="*/ 158642 h 311136"/>
                  <a:gd name="connsiteX17" fmla="*/ 216555 w 235998"/>
                  <a:gd name="connsiteY17" fmla="*/ 176686 h 311136"/>
                  <a:gd name="connsiteX18" fmla="*/ 143043 w 235998"/>
                  <a:gd name="connsiteY18" fmla="*/ 176908 h 311136"/>
                  <a:gd name="connsiteX19" fmla="*/ 118094 w 235998"/>
                  <a:gd name="connsiteY19" fmla="*/ 127232 h 311136"/>
                  <a:gd name="connsiteX20" fmla="*/ 137474 w 235998"/>
                  <a:gd name="connsiteY20" fmla="*/ 127232 h 311136"/>
                  <a:gd name="connsiteX21" fmla="*/ 167547 w 235998"/>
                  <a:gd name="connsiteY21" fmla="*/ 127232 h 311136"/>
                  <a:gd name="connsiteX22" fmla="*/ 175789 w 235998"/>
                  <a:gd name="connsiteY22" fmla="*/ 118767 h 311136"/>
                  <a:gd name="connsiteX23" fmla="*/ 175567 w 235998"/>
                  <a:gd name="connsiteY23" fmla="*/ 109411 h 311136"/>
                  <a:gd name="connsiteX24" fmla="*/ 134133 w 235998"/>
                  <a:gd name="connsiteY24" fmla="*/ 58176 h 311136"/>
                  <a:gd name="connsiteX25" fmla="*/ 106956 w 235998"/>
                  <a:gd name="connsiteY25" fmla="*/ 57062 h 311136"/>
                  <a:gd name="connsiteX26" fmla="*/ 70868 w 235998"/>
                  <a:gd name="connsiteY26" fmla="*/ 77556 h 311136"/>
                  <a:gd name="connsiteX27" fmla="*/ 60398 w 235998"/>
                  <a:gd name="connsiteY27" fmla="*/ 117208 h 311136"/>
                  <a:gd name="connsiteX28" fmla="*/ 70423 w 235998"/>
                  <a:gd name="connsiteY28" fmla="*/ 127232 h 311136"/>
                  <a:gd name="connsiteX29" fmla="*/ 118094 w 235998"/>
                  <a:gd name="connsiteY29" fmla="*/ 127232 h 311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5998" h="311136">
                    <a:moveTo>
                      <a:pt x="143043" y="176908"/>
                    </a:moveTo>
                    <a:cubicBezTo>
                      <a:pt x="118539" y="176908"/>
                      <a:pt x="94035" y="176908"/>
                      <a:pt x="69754" y="176908"/>
                    </a:cubicBezTo>
                    <a:cubicBezTo>
                      <a:pt x="61735" y="176908"/>
                      <a:pt x="60621" y="178245"/>
                      <a:pt x="60398" y="186264"/>
                    </a:cubicBezTo>
                    <a:cubicBezTo>
                      <a:pt x="60398" y="195175"/>
                      <a:pt x="60176" y="204085"/>
                      <a:pt x="62403" y="212773"/>
                    </a:cubicBezTo>
                    <a:cubicBezTo>
                      <a:pt x="68641" y="237500"/>
                      <a:pt x="87130" y="252425"/>
                      <a:pt x="112970" y="254430"/>
                    </a:cubicBezTo>
                    <a:cubicBezTo>
                      <a:pt x="140147" y="256657"/>
                      <a:pt x="163315" y="248861"/>
                      <a:pt x="182027" y="228812"/>
                    </a:cubicBezTo>
                    <a:cubicBezTo>
                      <a:pt x="190937" y="219456"/>
                      <a:pt x="200293" y="219456"/>
                      <a:pt x="209872" y="228144"/>
                    </a:cubicBezTo>
                    <a:cubicBezTo>
                      <a:pt x="213436" y="231485"/>
                      <a:pt x="217000" y="234604"/>
                      <a:pt x="220564" y="237722"/>
                    </a:cubicBezTo>
                    <a:cubicBezTo>
                      <a:pt x="229475" y="245742"/>
                      <a:pt x="230589" y="254875"/>
                      <a:pt x="223683" y="264899"/>
                    </a:cubicBezTo>
                    <a:cubicBezTo>
                      <a:pt x="217446" y="273587"/>
                      <a:pt x="209204" y="280270"/>
                      <a:pt x="200739" y="286507"/>
                    </a:cubicBezTo>
                    <a:cubicBezTo>
                      <a:pt x="154850" y="321036"/>
                      <a:pt x="83566" y="317471"/>
                      <a:pt x="44582" y="286953"/>
                    </a:cubicBezTo>
                    <a:cubicBezTo>
                      <a:pt x="16960" y="265122"/>
                      <a:pt x="2257" y="236386"/>
                      <a:pt x="921" y="201412"/>
                    </a:cubicBezTo>
                    <a:cubicBezTo>
                      <a:pt x="-193" y="170894"/>
                      <a:pt x="-416" y="140375"/>
                      <a:pt x="921" y="109634"/>
                    </a:cubicBezTo>
                    <a:cubicBezTo>
                      <a:pt x="3594" y="42805"/>
                      <a:pt x="50151" y="4490"/>
                      <a:pt x="103837" y="480"/>
                    </a:cubicBezTo>
                    <a:cubicBezTo>
                      <a:pt x="140147" y="-2193"/>
                      <a:pt x="172893" y="6050"/>
                      <a:pt x="200293" y="31222"/>
                    </a:cubicBezTo>
                    <a:cubicBezTo>
                      <a:pt x="220342" y="49934"/>
                      <a:pt x="231034" y="73324"/>
                      <a:pt x="234599" y="100278"/>
                    </a:cubicBezTo>
                    <a:cubicBezTo>
                      <a:pt x="237049" y="119658"/>
                      <a:pt x="235490" y="139039"/>
                      <a:pt x="235712" y="158642"/>
                    </a:cubicBezTo>
                    <a:cubicBezTo>
                      <a:pt x="235712" y="169557"/>
                      <a:pt x="227916" y="176463"/>
                      <a:pt x="216555" y="176686"/>
                    </a:cubicBezTo>
                    <a:cubicBezTo>
                      <a:pt x="192051" y="176908"/>
                      <a:pt x="167547" y="176908"/>
                      <a:pt x="143043" y="176908"/>
                    </a:cubicBezTo>
                    <a:moveTo>
                      <a:pt x="118094" y="127232"/>
                    </a:moveTo>
                    <a:lnTo>
                      <a:pt x="137474" y="127232"/>
                    </a:lnTo>
                    <a:cubicBezTo>
                      <a:pt x="147498" y="127232"/>
                      <a:pt x="157523" y="127455"/>
                      <a:pt x="167547" y="127232"/>
                    </a:cubicBezTo>
                    <a:cubicBezTo>
                      <a:pt x="174007" y="127010"/>
                      <a:pt x="175567" y="125450"/>
                      <a:pt x="175789" y="118767"/>
                    </a:cubicBezTo>
                    <a:cubicBezTo>
                      <a:pt x="175789" y="115649"/>
                      <a:pt x="175789" y="112530"/>
                      <a:pt x="175567" y="109411"/>
                    </a:cubicBezTo>
                    <a:cubicBezTo>
                      <a:pt x="173339" y="87358"/>
                      <a:pt x="161978" y="63299"/>
                      <a:pt x="134133" y="58176"/>
                    </a:cubicBezTo>
                    <a:cubicBezTo>
                      <a:pt x="125222" y="56394"/>
                      <a:pt x="116089" y="55948"/>
                      <a:pt x="106956" y="57062"/>
                    </a:cubicBezTo>
                    <a:cubicBezTo>
                      <a:pt x="92031" y="58621"/>
                      <a:pt x="79110" y="63968"/>
                      <a:pt x="70868" y="77556"/>
                    </a:cubicBezTo>
                    <a:cubicBezTo>
                      <a:pt x="63517" y="89808"/>
                      <a:pt x="60398" y="103174"/>
                      <a:pt x="60398" y="117208"/>
                    </a:cubicBezTo>
                    <a:cubicBezTo>
                      <a:pt x="60398" y="125896"/>
                      <a:pt x="61512" y="127232"/>
                      <a:pt x="70423" y="127232"/>
                    </a:cubicBezTo>
                    <a:cubicBezTo>
                      <a:pt x="86239" y="127455"/>
                      <a:pt x="102278" y="127232"/>
                      <a:pt x="118094" y="127232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6" name="Graphic 13">
                <a:extLst>
                  <a:ext uri="{FF2B5EF4-FFF2-40B4-BE49-F238E27FC236}">
                    <a16:creationId xmlns:a16="http://schemas.microsoft.com/office/drawing/2014/main" id="{6419CF44-0E59-4304-8E3C-3F843DB83BCD}"/>
                  </a:ext>
                </a:extLst>
              </p:cNvPr>
              <p:cNvSpPr/>
              <p:nvPr/>
            </p:nvSpPr>
            <p:spPr>
              <a:xfrm>
                <a:off x="1173187" y="1140242"/>
                <a:ext cx="244231" cy="304070"/>
              </a:xfrm>
              <a:custGeom>
                <a:avLst/>
                <a:gdLst>
                  <a:gd name="connsiteX0" fmla="*/ 244148 w 244231"/>
                  <a:gd name="connsiteY0" fmla="*/ 180215 h 304070"/>
                  <a:gd name="connsiteX1" fmla="*/ 244148 w 244231"/>
                  <a:gd name="connsiteY1" fmla="*/ 77299 h 304070"/>
                  <a:gd name="connsiteX2" fmla="*/ 244148 w 244231"/>
                  <a:gd name="connsiteY2" fmla="*/ 55691 h 304070"/>
                  <a:gd name="connsiteX3" fmla="*/ 244148 w 244231"/>
                  <a:gd name="connsiteY3" fmla="*/ 21385 h 304070"/>
                  <a:gd name="connsiteX4" fmla="*/ 244148 w 244231"/>
                  <a:gd name="connsiteY4" fmla="*/ 20494 h 304070"/>
                  <a:gd name="connsiteX5" fmla="*/ 244148 w 244231"/>
                  <a:gd name="connsiteY5" fmla="*/ 20049 h 304070"/>
                  <a:gd name="connsiteX6" fmla="*/ 242143 w 244231"/>
                  <a:gd name="connsiteY6" fmla="*/ 9802 h 304070"/>
                  <a:gd name="connsiteX7" fmla="*/ 242143 w 244231"/>
                  <a:gd name="connsiteY7" fmla="*/ 9802 h 304070"/>
                  <a:gd name="connsiteX8" fmla="*/ 241697 w 244231"/>
                  <a:gd name="connsiteY8" fmla="*/ 8910 h 304070"/>
                  <a:gd name="connsiteX9" fmla="*/ 236128 w 244231"/>
                  <a:gd name="connsiteY9" fmla="*/ 2896 h 304070"/>
                  <a:gd name="connsiteX10" fmla="*/ 236128 w 244231"/>
                  <a:gd name="connsiteY10" fmla="*/ 2896 h 304070"/>
                  <a:gd name="connsiteX11" fmla="*/ 235683 w 244231"/>
                  <a:gd name="connsiteY11" fmla="*/ 2673 h 304070"/>
                  <a:gd name="connsiteX12" fmla="*/ 224099 w 244231"/>
                  <a:gd name="connsiteY12" fmla="*/ 0 h 304070"/>
                  <a:gd name="connsiteX13" fmla="*/ 222985 w 244231"/>
                  <a:gd name="connsiteY13" fmla="*/ 0 h 304070"/>
                  <a:gd name="connsiteX14" fmla="*/ 222762 w 244231"/>
                  <a:gd name="connsiteY14" fmla="*/ 0 h 304070"/>
                  <a:gd name="connsiteX15" fmla="*/ 213406 w 244231"/>
                  <a:gd name="connsiteY15" fmla="*/ 0 h 304070"/>
                  <a:gd name="connsiteX16" fmla="*/ 203828 w 244231"/>
                  <a:gd name="connsiteY16" fmla="*/ 0 h 304070"/>
                  <a:gd name="connsiteX17" fmla="*/ 203605 w 244231"/>
                  <a:gd name="connsiteY17" fmla="*/ 0 h 304070"/>
                  <a:gd name="connsiteX18" fmla="*/ 202937 w 244231"/>
                  <a:gd name="connsiteY18" fmla="*/ 0 h 304070"/>
                  <a:gd name="connsiteX19" fmla="*/ 192467 w 244231"/>
                  <a:gd name="connsiteY19" fmla="*/ 1782 h 304070"/>
                  <a:gd name="connsiteX20" fmla="*/ 192021 w 244231"/>
                  <a:gd name="connsiteY20" fmla="*/ 2005 h 304070"/>
                  <a:gd name="connsiteX21" fmla="*/ 191130 w 244231"/>
                  <a:gd name="connsiteY21" fmla="*/ 2450 h 304070"/>
                  <a:gd name="connsiteX22" fmla="*/ 190016 w 244231"/>
                  <a:gd name="connsiteY22" fmla="*/ 2896 h 304070"/>
                  <a:gd name="connsiteX23" fmla="*/ 190016 w 244231"/>
                  <a:gd name="connsiteY23" fmla="*/ 2896 h 304070"/>
                  <a:gd name="connsiteX24" fmla="*/ 187120 w 244231"/>
                  <a:gd name="connsiteY24" fmla="*/ 5124 h 304070"/>
                  <a:gd name="connsiteX25" fmla="*/ 181774 w 244231"/>
                  <a:gd name="connsiteY25" fmla="*/ 20940 h 304070"/>
                  <a:gd name="connsiteX26" fmla="*/ 181774 w 244231"/>
                  <a:gd name="connsiteY26" fmla="*/ 79749 h 304070"/>
                  <a:gd name="connsiteX27" fmla="*/ 181774 w 244231"/>
                  <a:gd name="connsiteY27" fmla="*/ 187120 h 304070"/>
                  <a:gd name="connsiteX28" fmla="*/ 181106 w 244231"/>
                  <a:gd name="connsiteY28" fmla="*/ 196254 h 304070"/>
                  <a:gd name="connsiteX29" fmla="*/ 180883 w 244231"/>
                  <a:gd name="connsiteY29" fmla="*/ 197145 h 304070"/>
                  <a:gd name="connsiteX30" fmla="*/ 175314 w 244231"/>
                  <a:gd name="connsiteY30" fmla="*/ 215634 h 304070"/>
                  <a:gd name="connsiteX31" fmla="*/ 162171 w 244231"/>
                  <a:gd name="connsiteY31" fmla="*/ 233901 h 304070"/>
                  <a:gd name="connsiteX32" fmla="*/ 149474 w 244231"/>
                  <a:gd name="connsiteY32" fmla="*/ 242588 h 304070"/>
                  <a:gd name="connsiteX33" fmla="*/ 148805 w 244231"/>
                  <a:gd name="connsiteY33" fmla="*/ 242811 h 304070"/>
                  <a:gd name="connsiteX34" fmla="*/ 124079 w 244231"/>
                  <a:gd name="connsiteY34" fmla="*/ 247712 h 304070"/>
                  <a:gd name="connsiteX35" fmla="*/ 122074 w 244231"/>
                  <a:gd name="connsiteY35" fmla="*/ 247712 h 304070"/>
                  <a:gd name="connsiteX36" fmla="*/ 120069 w 244231"/>
                  <a:gd name="connsiteY36" fmla="*/ 247712 h 304070"/>
                  <a:gd name="connsiteX37" fmla="*/ 95342 w 244231"/>
                  <a:gd name="connsiteY37" fmla="*/ 242811 h 304070"/>
                  <a:gd name="connsiteX38" fmla="*/ 94674 w 244231"/>
                  <a:gd name="connsiteY38" fmla="*/ 242588 h 304070"/>
                  <a:gd name="connsiteX39" fmla="*/ 81977 w 244231"/>
                  <a:gd name="connsiteY39" fmla="*/ 233901 h 304070"/>
                  <a:gd name="connsiteX40" fmla="*/ 68834 w 244231"/>
                  <a:gd name="connsiteY40" fmla="*/ 215634 h 304070"/>
                  <a:gd name="connsiteX41" fmla="*/ 63265 w 244231"/>
                  <a:gd name="connsiteY41" fmla="*/ 197145 h 304070"/>
                  <a:gd name="connsiteX42" fmla="*/ 63042 w 244231"/>
                  <a:gd name="connsiteY42" fmla="*/ 196254 h 304070"/>
                  <a:gd name="connsiteX43" fmla="*/ 62373 w 244231"/>
                  <a:gd name="connsiteY43" fmla="*/ 187120 h 304070"/>
                  <a:gd name="connsiteX44" fmla="*/ 62373 w 244231"/>
                  <a:gd name="connsiteY44" fmla="*/ 79749 h 304070"/>
                  <a:gd name="connsiteX45" fmla="*/ 62373 w 244231"/>
                  <a:gd name="connsiteY45" fmla="*/ 20940 h 304070"/>
                  <a:gd name="connsiteX46" fmla="*/ 57027 w 244231"/>
                  <a:gd name="connsiteY46" fmla="*/ 5124 h 304070"/>
                  <a:gd name="connsiteX47" fmla="*/ 54131 w 244231"/>
                  <a:gd name="connsiteY47" fmla="*/ 2896 h 304070"/>
                  <a:gd name="connsiteX48" fmla="*/ 54131 w 244231"/>
                  <a:gd name="connsiteY48" fmla="*/ 2896 h 304070"/>
                  <a:gd name="connsiteX49" fmla="*/ 53018 w 244231"/>
                  <a:gd name="connsiteY49" fmla="*/ 2450 h 304070"/>
                  <a:gd name="connsiteX50" fmla="*/ 52126 w 244231"/>
                  <a:gd name="connsiteY50" fmla="*/ 2005 h 304070"/>
                  <a:gd name="connsiteX51" fmla="*/ 51681 w 244231"/>
                  <a:gd name="connsiteY51" fmla="*/ 1782 h 304070"/>
                  <a:gd name="connsiteX52" fmla="*/ 41211 w 244231"/>
                  <a:gd name="connsiteY52" fmla="*/ 0 h 304070"/>
                  <a:gd name="connsiteX53" fmla="*/ 40543 w 244231"/>
                  <a:gd name="connsiteY53" fmla="*/ 0 h 304070"/>
                  <a:gd name="connsiteX54" fmla="*/ 40320 w 244231"/>
                  <a:gd name="connsiteY54" fmla="*/ 0 h 304070"/>
                  <a:gd name="connsiteX55" fmla="*/ 30741 w 244231"/>
                  <a:gd name="connsiteY55" fmla="*/ 0 h 304070"/>
                  <a:gd name="connsiteX56" fmla="*/ 21385 w 244231"/>
                  <a:gd name="connsiteY56" fmla="*/ 0 h 304070"/>
                  <a:gd name="connsiteX57" fmla="*/ 21162 w 244231"/>
                  <a:gd name="connsiteY57" fmla="*/ 0 h 304070"/>
                  <a:gd name="connsiteX58" fmla="*/ 20049 w 244231"/>
                  <a:gd name="connsiteY58" fmla="*/ 0 h 304070"/>
                  <a:gd name="connsiteX59" fmla="*/ 8465 w 244231"/>
                  <a:gd name="connsiteY59" fmla="*/ 2673 h 304070"/>
                  <a:gd name="connsiteX60" fmla="*/ 8019 w 244231"/>
                  <a:gd name="connsiteY60" fmla="*/ 2896 h 304070"/>
                  <a:gd name="connsiteX61" fmla="*/ 8019 w 244231"/>
                  <a:gd name="connsiteY61" fmla="*/ 2896 h 304070"/>
                  <a:gd name="connsiteX62" fmla="*/ 2450 w 244231"/>
                  <a:gd name="connsiteY62" fmla="*/ 8910 h 304070"/>
                  <a:gd name="connsiteX63" fmla="*/ 2005 w 244231"/>
                  <a:gd name="connsiteY63" fmla="*/ 9802 h 304070"/>
                  <a:gd name="connsiteX64" fmla="*/ 2005 w 244231"/>
                  <a:gd name="connsiteY64" fmla="*/ 9802 h 304070"/>
                  <a:gd name="connsiteX65" fmla="*/ 0 w 244231"/>
                  <a:gd name="connsiteY65" fmla="*/ 20049 h 304070"/>
                  <a:gd name="connsiteX66" fmla="*/ 0 w 244231"/>
                  <a:gd name="connsiteY66" fmla="*/ 20494 h 304070"/>
                  <a:gd name="connsiteX67" fmla="*/ 0 w 244231"/>
                  <a:gd name="connsiteY67" fmla="*/ 21385 h 304070"/>
                  <a:gd name="connsiteX68" fmla="*/ 0 w 244231"/>
                  <a:gd name="connsiteY68" fmla="*/ 55691 h 304070"/>
                  <a:gd name="connsiteX69" fmla="*/ 0 w 244231"/>
                  <a:gd name="connsiteY69" fmla="*/ 77299 h 304070"/>
                  <a:gd name="connsiteX70" fmla="*/ 0 w 244231"/>
                  <a:gd name="connsiteY70" fmla="*/ 180215 h 304070"/>
                  <a:gd name="connsiteX71" fmla="*/ 668 w 244231"/>
                  <a:gd name="connsiteY71" fmla="*/ 198481 h 304070"/>
                  <a:gd name="connsiteX72" fmla="*/ 2228 w 244231"/>
                  <a:gd name="connsiteY72" fmla="*/ 208728 h 304070"/>
                  <a:gd name="connsiteX73" fmla="*/ 100911 w 244231"/>
                  <a:gd name="connsiteY73" fmla="*/ 302734 h 304070"/>
                  <a:gd name="connsiteX74" fmla="*/ 102025 w 244231"/>
                  <a:gd name="connsiteY74" fmla="*/ 302957 h 304070"/>
                  <a:gd name="connsiteX75" fmla="*/ 104030 w 244231"/>
                  <a:gd name="connsiteY75" fmla="*/ 303180 h 304070"/>
                  <a:gd name="connsiteX76" fmla="*/ 104698 w 244231"/>
                  <a:gd name="connsiteY76" fmla="*/ 303180 h 304070"/>
                  <a:gd name="connsiteX77" fmla="*/ 117619 w 244231"/>
                  <a:gd name="connsiteY77" fmla="*/ 304071 h 304070"/>
                  <a:gd name="connsiteX78" fmla="*/ 120292 w 244231"/>
                  <a:gd name="connsiteY78" fmla="*/ 304071 h 304070"/>
                  <a:gd name="connsiteX79" fmla="*/ 120960 w 244231"/>
                  <a:gd name="connsiteY79" fmla="*/ 304071 h 304070"/>
                  <a:gd name="connsiteX80" fmla="*/ 122074 w 244231"/>
                  <a:gd name="connsiteY80" fmla="*/ 304071 h 304070"/>
                  <a:gd name="connsiteX81" fmla="*/ 123188 w 244231"/>
                  <a:gd name="connsiteY81" fmla="*/ 304071 h 304070"/>
                  <a:gd name="connsiteX82" fmla="*/ 123856 w 244231"/>
                  <a:gd name="connsiteY82" fmla="*/ 304071 h 304070"/>
                  <a:gd name="connsiteX83" fmla="*/ 126529 w 244231"/>
                  <a:gd name="connsiteY83" fmla="*/ 304071 h 304070"/>
                  <a:gd name="connsiteX84" fmla="*/ 139449 w 244231"/>
                  <a:gd name="connsiteY84" fmla="*/ 303180 h 304070"/>
                  <a:gd name="connsiteX85" fmla="*/ 140118 w 244231"/>
                  <a:gd name="connsiteY85" fmla="*/ 303180 h 304070"/>
                  <a:gd name="connsiteX86" fmla="*/ 142122 w 244231"/>
                  <a:gd name="connsiteY86" fmla="*/ 302957 h 304070"/>
                  <a:gd name="connsiteX87" fmla="*/ 143236 w 244231"/>
                  <a:gd name="connsiteY87" fmla="*/ 302734 h 304070"/>
                  <a:gd name="connsiteX88" fmla="*/ 241920 w 244231"/>
                  <a:gd name="connsiteY88" fmla="*/ 208728 h 304070"/>
                  <a:gd name="connsiteX89" fmla="*/ 243479 w 244231"/>
                  <a:gd name="connsiteY89" fmla="*/ 198481 h 304070"/>
                  <a:gd name="connsiteX90" fmla="*/ 244148 w 244231"/>
                  <a:gd name="connsiteY90" fmla="*/ 180215 h 304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244231" h="304070">
                    <a:moveTo>
                      <a:pt x="244148" y="180215"/>
                    </a:moveTo>
                    <a:cubicBezTo>
                      <a:pt x="244148" y="145909"/>
                      <a:pt x="244148" y="111604"/>
                      <a:pt x="244148" y="77299"/>
                    </a:cubicBezTo>
                    <a:cubicBezTo>
                      <a:pt x="244148" y="70170"/>
                      <a:pt x="244148" y="62819"/>
                      <a:pt x="244148" y="55691"/>
                    </a:cubicBezTo>
                    <a:cubicBezTo>
                      <a:pt x="244148" y="44330"/>
                      <a:pt x="244148" y="32746"/>
                      <a:pt x="244148" y="21385"/>
                    </a:cubicBezTo>
                    <a:cubicBezTo>
                      <a:pt x="244148" y="21162"/>
                      <a:pt x="244148" y="20717"/>
                      <a:pt x="244148" y="20494"/>
                    </a:cubicBezTo>
                    <a:cubicBezTo>
                      <a:pt x="244148" y="20271"/>
                      <a:pt x="244148" y="20049"/>
                      <a:pt x="244148" y="20049"/>
                    </a:cubicBezTo>
                    <a:cubicBezTo>
                      <a:pt x="244148" y="16039"/>
                      <a:pt x="243479" y="12475"/>
                      <a:pt x="242143" y="9802"/>
                    </a:cubicBezTo>
                    <a:cubicBezTo>
                      <a:pt x="242143" y="9802"/>
                      <a:pt x="242143" y="9802"/>
                      <a:pt x="242143" y="9802"/>
                    </a:cubicBezTo>
                    <a:cubicBezTo>
                      <a:pt x="241920" y="9579"/>
                      <a:pt x="241920" y="9133"/>
                      <a:pt x="241697" y="8910"/>
                    </a:cubicBezTo>
                    <a:cubicBezTo>
                      <a:pt x="240361" y="6237"/>
                      <a:pt x="238579" y="4233"/>
                      <a:pt x="236128" y="2896"/>
                    </a:cubicBezTo>
                    <a:cubicBezTo>
                      <a:pt x="236128" y="2896"/>
                      <a:pt x="236128" y="2896"/>
                      <a:pt x="236128" y="2896"/>
                    </a:cubicBezTo>
                    <a:cubicBezTo>
                      <a:pt x="235905" y="2896"/>
                      <a:pt x="235905" y="2673"/>
                      <a:pt x="235683" y="2673"/>
                    </a:cubicBezTo>
                    <a:cubicBezTo>
                      <a:pt x="232564" y="891"/>
                      <a:pt x="228777" y="0"/>
                      <a:pt x="224099" y="0"/>
                    </a:cubicBezTo>
                    <a:lnTo>
                      <a:pt x="222985" y="0"/>
                    </a:lnTo>
                    <a:cubicBezTo>
                      <a:pt x="222985" y="0"/>
                      <a:pt x="222762" y="0"/>
                      <a:pt x="222762" y="0"/>
                    </a:cubicBezTo>
                    <a:lnTo>
                      <a:pt x="213406" y="0"/>
                    </a:lnTo>
                    <a:lnTo>
                      <a:pt x="203828" y="0"/>
                    </a:lnTo>
                    <a:cubicBezTo>
                      <a:pt x="203828" y="0"/>
                      <a:pt x="203605" y="0"/>
                      <a:pt x="203605" y="0"/>
                    </a:cubicBezTo>
                    <a:lnTo>
                      <a:pt x="202937" y="0"/>
                    </a:lnTo>
                    <a:cubicBezTo>
                      <a:pt x="198927" y="0"/>
                      <a:pt x="195363" y="668"/>
                      <a:pt x="192467" y="1782"/>
                    </a:cubicBezTo>
                    <a:cubicBezTo>
                      <a:pt x="192244" y="1782"/>
                      <a:pt x="192244" y="1782"/>
                      <a:pt x="192021" y="2005"/>
                    </a:cubicBezTo>
                    <a:cubicBezTo>
                      <a:pt x="191798" y="2228"/>
                      <a:pt x="191576" y="2228"/>
                      <a:pt x="191130" y="2450"/>
                    </a:cubicBezTo>
                    <a:cubicBezTo>
                      <a:pt x="190685" y="2673"/>
                      <a:pt x="190462" y="2896"/>
                      <a:pt x="190016" y="2896"/>
                    </a:cubicBezTo>
                    <a:cubicBezTo>
                      <a:pt x="190016" y="2896"/>
                      <a:pt x="190016" y="2896"/>
                      <a:pt x="190016" y="2896"/>
                    </a:cubicBezTo>
                    <a:cubicBezTo>
                      <a:pt x="188903" y="3564"/>
                      <a:pt x="188012" y="4233"/>
                      <a:pt x="187120" y="5124"/>
                    </a:cubicBezTo>
                    <a:cubicBezTo>
                      <a:pt x="183556" y="8688"/>
                      <a:pt x="181774" y="13811"/>
                      <a:pt x="181774" y="20940"/>
                    </a:cubicBezTo>
                    <a:cubicBezTo>
                      <a:pt x="181774" y="40543"/>
                      <a:pt x="181774" y="60146"/>
                      <a:pt x="181774" y="79749"/>
                    </a:cubicBezTo>
                    <a:cubicBezTo>
                      <a:pt x="181774" y="115614"/>
                      <a:pt x="181997" y="151256"/>
                      <a:pt x="181774" y="187120"/>
                    </a:cubicBezTo>
                    <a:cubicBezTo>
                      <a:pt x="181774" y="190239"/>
                      <a:pt x="181551" y="193358"/>
                      <a:pt x="181106" y="196254"/>
                    </a:cubicBezTo>
                    <a:cubicBezTo>
                      <a:pt x="181106" y="196477"/>
                      <a:pt x="181106" y="196922"/>
                      <a:pt x="180883" y="197145"/>
                    </a:cubicBezTo>
                    <a:cubicBezTo>
                      <a:pt x="179547" y="203605"/>
                      <a:pt x="177987" y="209842"/>
                      <a:pt x="175314" y="215634"/>
                    </a:cubicBezTo>
                    <a:cubicBezTo>
                      <a:pt x="172195" y="222317"/>
                      <a:pt x="167740" y="228332"/>
                      <a:pt x="162171" y="233901"/>
                    </a:cubicBezTo>
                    <a:cubicBezTo>
                      <a:pt x="158384" y="237688"/>
                      <a:pt x="153929" y="240361"/>
                      <a:pt x="149474" y="242588"/>
                    </a:cubicBezTo>
                    <a:cubicBezTo>
                      <a:pt x="149251" y="242588"/>
                      <a:pt x="149028" y="242811"/>
                      <a:pt x="148805" y="242811"/>
                    </a:cubicBezTo>
                    <a:cubicBezTo>
                      <a:pt x="141231" y="246153"/>
                      <a:pt x="132766" y="247489"/>
                      <a:pt x="124079" y="247712"/>
                    </a:cubicBezTo>
                    <a:cubicBezTo>
                      <a:pt x="123410" y="247712"/>
                      <a:pt x="122742" y="247712"/>
                      <a:pt x="122074" y="247712"/>
                    </a:cubicBezTo>
                    <a:cubicBezTo>
                      <a:pt x="121406" y="247712"/>
                      <a:pt x="120737" y="247712"/>
                      <a:pt x="120069" y="247712"/>
                    </a:cubicBezTo>
                    <a:cubicBezTo>
                      <a:pt x="111381" y="247489"/>
                      <a:pt x="102916" y="246153"/>
                      <a:pt x="95342" y="242811"/>
                    </a:cubicBezTo>
                    <a:cubicBezTo>
                      <a:pt x="95120" y="242811"/>
                      <a:pt x="94897" y="242588"/>
                      <a:pt x="94674" y="242588"/>
                    </a:cubicBezTo>
                    <a:cubicBezTo>
                      <a:pt x="89996" y="240583"/>
                      <a:pt x="85764" y="237688"/>
                      <a:pt x="81977" y="233901"/>
                    </a:cubicBezTo>
                    <a:cubicBezTo>
                      <a:pt x="76408" y="228332"/>
                      <a:pt x="71952" y="222317"/>
                      <a:pt x="68834" y="215634"/>
                    </a:cubicBezTo>
                    <a:cubicBezTo>
                      <a:pt x="66383" y="209842"/>
                      <a:pt x="64601" y="203605"/>
                      <a:pt x="63265" y="197145"/>
                    </a:cubicBezTo>
                    <a:cubicBezTo>
                      <a:pt x="63265" y="196922"/>
                      <a:pt x="63265" y="196477"/>
                      <a:pt x="63042" y="196254"/>
                    </a:cubicBezTo>
                    <a:cubicBezTo>
                      <a:pt x="62596" y="193358"/>
                      <a:pt x="62373" y="190239"/>
                      <a:pt x="62373" y="187120"/>
                    </a:cubicBezTo>
                    <a:cubicBezTo>
                      <a:pt x="62151" y="151256"/>
                      <a:pt x="62373" y="115614"/>
                      <a:pt x="62373" y="79749"/>
                    </a:cubicBezTo>
                    <a:cubicBezTo>
                      <a:pt x="62373" y="60146"/>
                      <a:pt x="62373" y="40543"/>
                      <a:pt x="62373" y="20940"/>
                    </a:cubicBezTo>
                    <a:cubicBezTo>
                      <a:pt x="62373" y="14034"/>
                      <a:pt x="60591" y="8688"/>
                      <a:pt x="57027" y="5124"/>
                    </a:cubicBezTo>
                    <a:cubicBezTo>
                      <a:pt x="56136" y="4233"/>
                      <a:pt x="55245" y="3564"/>
                      <a:pt x="54131" y="2896"/>
                    </a:cubicBezTo>
                    <a:cubicBezTo>
                      <a:pt x="54131" y="2896"/>
                      <a:pt x="54131" y="2896"/>
                      <a:pt x="54131" y="2896"/>
                    </a:cubicBezTo>
                    <a:cubicBezTo>
                      <a:pt x="53909" y="2673"/>
                      <a:pt x="53463" y="2450"/>
                      <a:pt x="53018" y="2450"/>
                    </a:cubicBezTo>
                    <a:cubicBezTo>
                      <a:pt x="52795" y="2228"/>
                      <a:pt x="52572" y="2228"/>
                      <a:pt x="52126" y="2005"/>
                    </a:cubicBezTo>
                    <a:cubicBezTo>
                      <a:pt x="52126" y="2005"/>
                      <a:pt x="51904" y="2005"/>
                      <a:pt x="51681" y="1782"/>
                    </a:cubicBezTo>
                    <a:cubicBezTo>
                      <a:pt x="48785" y="446"/>
                      <a:pt x="45221" y="0"/>
                      <a:pt x="41211" y="0"/>
                    </a:cubicBezTo>
                    <a:lnTo>
                      <a:pt x="40543" y="0"/>
                    </a:lnTo>
                    <a:cubicBezTo>
                      <a:pt x="40543" y="0"/>
                      <a:pt x="40320" y="0"/>
                      <a:pt x="40320" y="0"/>
                    </a:cubicBezTo>
                    <a:lnTo>
                      <a:pt x="30741" y="0"/>
                    </a:lnTo>
                    <a:lnTo>
                      <a:pt x="21385" y="0"/>
                    </a:lnTo>
                    <a:cubicBezTo>
                      <a:pt x="21385" y="0"/>
                      <a:pt x="21162" y="0"/>
                      <a:pt x="21162" y="0"/>
                    </a:cubicBezTo>
                    <a:lnTo>
                      <a:pt x="20049" y="0"/>
                    </a:lnTo>
                    <a:cubicBezTo>
                      <a:pt x="15371" y="0"/>
                      <a:pt x="11361" y="891"/>
                      <a:pt x="8465" y="2673"/>
                    </a:cubicBezTo>
                    <a:cubicBezTo>
                      <a:pt x="8242" y="2673"/>
                      <a:pt x="8242" y="2896"/>
                      <a:pt x="8019" y="2896"/>
                    </a:cubicBezTo>
                    <a:cubicBezTo>
                      <a:pt x="8019" y="2896"/>
                      <a:pt x="8019" y="2896"/>
                      <a:pt x="8019" y="2896"/>
                    </a:cubicBezTo>
                    <a:cubicBezTo>
                      <a:pt x="5569" y="4455"/>
                      <a:pt x="3787" y="6460"/>
                      <a:pt x="2450" y="8910"/>
                    </a:cubicBezTo>
                    <a:cubicBezTo>
                      <a:pt x="2228" y="9133"/>
                      <a:pt x="2228" y="9579"/>
                      <a:pt x="2005" y="9802"/>
                    </a:cubicBezTo>
                    <a:cubicBezTo>
                      <a:pt x="2005" y="9802"/>
                      <a:pt x="2005" y="9802"/>
                      <a:pt x="2005" y="9802"/>
                    </a:cubicBezTo>
                    <a:cubicBezTo>
                      <a:pt x="668" y="12697"/>
                      <a:pt x="0" y="16039"/>
                      <a:pt x="0" y="20049"/>
                    </a:cubicBezTo>
                    <a:cubicBezTo>
                      <a:pt x="0" y="20271"/>
                      <a:pt x="0" y="20494"/>
                      <a:pt x="0" y="20494"/>
                    </a:cubicBezTo>
                    <a:cubicBezTo>
                      <a:pt x="0" y="20717"/>
                      <a:pt x="0" y="20940"/>
                      <a:pt x="0" y="21385"/>
                    </a:cubicBezTo>
                    <a:cubicBezTo>
                      <a:pt x="0" y="32746"/>
                      <a:pt x="0" y="44330"/>
                      <a:pt x="0" y="55691"/>
                    </a:cubicBezTo>
                    <a:cubicBezTo>
                      <a:pt x="0" y="62819"/>
                      <a:pt x="0" y="70170"/>
                      <a:pt x="0" y="77299"/>
                    </a:cubicBezTo>
                    <a:cubicBezTo>
                      <a:pt x="0" y="111604"/>
                      <a:pt x="0" y="145909"/>
                      <a:pt x="0" y="180215"/>
                    </a:cubicBezTo>
                    <a:cubicBezTo>
                      <a:pt x="0" y="186229"/>
                      <a:pt x="0" y="192467"/>
                      <a:pt x="668" y="198481"/>
                    </a:cubicBezTo>
                    <a:cubicBezTo>
                      <a:pt x="1114" y="202046"/>
                      <a:pt x="1559" y="205387"/>
                      <a:pt x="2228" y="208728"/>
                    </a:cubicBezTo>
                    <a:cubicBezTo>
                      <a:pt x="11138" y="259741"/>
                      <a:pt x="50790" y="296051"/>
                      <a:pt x="100911" y="302734"/>
                    </a:cubicBezTo>
                    <a:cubicBezTo>
                      <a:pt x="101357" y="302734"/>
                      <a:pt x="101580" y="302734"/>
                      <a:pt x="102025" y="302957"/>
                    </a:cubicBezTo>
                    <a:cubicBezTo>
                      <a:pt x="102694" y="302957"/>
                      <a:pt x="103362" y="303180"/>
                      <a:pt x="104030" y="303180"/>
                    </a:cubicBezTo>
                    <a:cubicBezTo>
                      <a:pt x="104253" y="303180"/>
                      <a:pt x="104476" y="303180"/>
                      <a:pt x="104698" y="303180"/>
                    </a:cubicBezTo>
                    <a:cubicBezTo>
                      <a:pt x="108931" y="303625"/>
                      <a:pt x="113163" y="303848"/>
                      <a:pt x="117619" y="304071"/>
                    </a:cubicBezTo>
                    <a:cubicBezTo>
                      <a:pt x="118510" y="304071"/>
                      <a:pt x="119401" y="304071"/>
                      <a:pt x="120292" y="304071"/>
                    </a:cubicBezTo>
                    <a:cubicBezTo>
                      <a:pt x="120515" y="304071"/>
                      <a:pt x="120737" y="304071"/>
                      <a:pt x="120960" y="304071"/>
                    </a:cubicBezTo>
                    <a:cubicBezTo>
                      <a:pt x="121406" y="304071"/>
                      <a:pt x="121628" y="304071"/>
                      <a:pt x="122074" y="304071"/>
                    </a:cubicBezTo>
                    <a:cubicBezTo>
                      <a:pt x="122519" y="304071"/>
                      <a:pt x="122742" y="304071"/>
                      <a:pt x="123188" y="304071"/>
                    </a:cubicBezTo>
                    <a:cubicBezTo>
                      <a:pt x="123410" y="304071"/>
                      <a:pt x="123633" y="304071"/>
                      <a:pt x="123856" y="304071"/>
                    </a:cubicBezTo>
                    <a:cubicBezTo>
                      <a:pt x="124747" y="304071"/>
                      <a:pt x="125638" y="304071"/>
                      <a:pt x="126529" y="304071"/>
                    </a:cubicBezTo>
                    <a:cubicBezTo>
                      <a:pt x="130984" y="304071"/>
                      <a:pt x="135217" y="303625"/>
                      <a:pt x="139449" y="303180"/>
                    </a:cubicBezTo>
                    <a:cubicBezTo>
                      <a:pt x="139672" y="303180"/>
                      <a:pt x="139895" y="303180"/>
                      <a:pt x="140118" y="303180"/>
                    </a:cubicBezTo>
                    <a:cubicBezTo>
                      <a:pt x="140786" y="303180"/>
                      <a:pt x="141454" y="302957"/>
                      <a:pt x="142122" y="302957"/>
                    </a:cubicBezTo>
                    <a:cubicBezTo>
                      <a:pt x="142568" y="302957"/>
                      <a:pt x="143014" y="302957"/>
                      <a:pt x="143236" y="302734"/>
                    </a:cubicBezTo>
                    <a:cubicBezTo>
                      <a:pt x="193358" y="296051"/>
                      <a:pt x="233010" y="259741"/>
                      <a:pt x="241920" y="208728"/>
                    </a:cubicBezTo>
                    <a:cubicBezTo>
                      <a:pt x="242588" y="205387"/>
                      <a:pt x="243034" y="202046"/>
                      <a:pt x="243479" y="198481"/>
                    </a:cubicBezTo>
                    <a:cubicBezTo>
                      <a:pt x="244148" y="192467"/>
                      <a:pt x="244370" y="186229"/>
                      <a:pt x="244148" y="180215"/>
                    </a:cubicBez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7" name="Graphic 13">
                <a:extLst>
                  <a:ext uri="{FF2B5EF4-FFF2-40B4-BE49-F238E27FC236}">
                    <a16:creationId xmlns:a16="http://schemas.microsoft.com/office/drawing/2014/main" id="{5BC1090B-98CB-44EA-B39C-77A40B4F4D39}"/>
                  </a:ext>
                </a:extLst>
              </p:cNvPr>
              <p:cNvSpPr/>
              <p:nvPr/>
            </p:nvSpPr>
            <p:spPr>
              <a:xfrm>
                <a:off x="610655" y="1130302"/>
                <a:ext cx="188725" cy="311338"/>
              </a:xfrm>
              <a:custGeom>
                <a:avLst/>
                <a:gdLst>
                  <a:gd name="connsiteX0" fmla="*/ 87157 w 188725"/>
                  <a:gd name="connsiteY0" fmla="*/ 311338 h 311338"/>
                  <a:gd name="connsiteX1" fmla="*/ 26788 w 188725"/>
                  <a:gd name="connsiteY1" fmla="*/ 297750 h 311338"/>
                  <a:gd name="connsiteX2" fmla="*/ 5403 w 188725"/>
                  <a:gd name="connsiteY2" fmla="*/ 280374 h 311338"/>
                  <a:gd name="connsiteX3" fmla="*/ 5626 w 188725"/>
                  <a:gd name="connsiteY3" fmla="*/ 252752 h 311338"/>
                  <a:gd name="connsiteX4" fmla="*/ 16987 w 188725"/>
                  <a:gd name="connsiteY4" fmla="*/ 238940 h 311338"/>
                  <a:gd name="connsiteX5" fmla="*/ 40822 w 188725"/>
                  <a:gd name="connsiteY5" fmla="*/ 235822 h 311338"/>
                  <a:gd name="connsiteX6" fmla="*/ 59757 w 188725"/>
                  <a:gd name="connsiteY6" fmla="*/ 248519 h 311338"/>
                  <a:gd name="connsiteX7" fmla="*/ 112329 w 188725"/>
                  <a:gd name="connsiteY7" fmla="*/ 249410 h 311338"/>
                  <a:gd name="connsiteX8" fmla="*/ 117453 w 188725"/>
                  <a:gd name="connsiteY8" fmla="*/ 203298 h 311338"/>
                  <a:gd name="connsiteX9" fmla="*/ 82925 w 188725"/>
                  <a:gd name="connsiteY9" fmla="*/ 182359 h 311338"/>
                  <a:gd name="connsiteX10" fmla="*/ 35031 w 188725"/>
                  <a:gd name="connsiteY10" fmla="*/ 152731 h 311338"/>
                  <a:gd name="connsiteX11" fmla="*/ 8076 w 188725"/>
                  <a:gd name="connsiteY11" fmla="*/ 65408 h 311338"/>
                  <a:gd name="connsiteX12" fmla="*/ 72009 w 188725"/>
                  <a:gd name="connsiteY12" fmla="*/ 3703 h 311338"/>
                  <a:gd name="connsiteX13" fmla="*/ 168243 w 188725"/>
                  <a:gd name="connsiteY13" fmla="*/ 22861 h 311338"/>
                  <a:gd name="connsiteX14" fmla="*/ 181386 w 188725"/>
                  <a:gd name="connsiteY14" fmla="*/ 39568 h 311338"/>
                  <a:gd name="connsiteX15" fmla="*/ 177376 w 188725"/>
                  <a:gd name="connsiteY15" fmla="*/ 57166 h 311338"/>
                  <a:gd name="connsiteX16" fmla="*/ 163119 w 188725"/>
                  <a:gd name="connsiteY16" fmla="*/ 72091 h 311338"/>
                  <a:gd name="connsiteX17" fmla="*/ 138170 w 188725"/>
                  <a:gd name="connsiteY17" fmla="*/ 72537 h 311338"/>
                  <a:gd name="connsiteX18" fmla="*/ 83147 w 188725"/>
                  <a:gd name="connsiteY18" fmla="*/ 59171 h 311338"/>
                  <a:gd name="connsiteX19" fmla="*/ 63544 w 188725"/>
                  <a:gd name="connsiteY19" fmla="*/ 80556 h 311338"/>
                  <a:gd name="connsiteX20" fmla="*/ 73123 w 188725"/>
                  <a:gd name="connsiteY20" fmla="*/ 108402 h 311338"/>
                  <a:gd name="connsiteX21" fmla="*/ 109656 w 188725"/>
                  <a:gd name="connsiteY21" fmla="*/ 129118 h 311338"/>
                  <a:gd name="connsiteX22" fmla="*/ 160669 w 188725"/>
                  <a:gd name="connsiteY22" fmla="*/ 160082 h 311338"/>
                  <a:gd name="connsiteX23" fmla="*/ 141957 w 188725"/>
                  <a:gd name="connsiteY23" fmla="*/ 298641 h 311338"/>
                  <a:gd name="connsiteX24" fmla="*/ 87157 w 188725"/>
                  <a:gd name="connsiteY24" fmla="*/ 311338 h 31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8725" h="311338">
                    <a:moveTo>
                      <a:pt x="87157" y="311338"/>
                    </a:moveTo>
                    <a:cubicBezTo>
                      <a:pt x="65326" y="310893"/>
                      <a:pt x="45055" y="308220"/>
                      <a:pt x="26788" y="297750"/>
                    </a:cubicBezTo>
                    <a:cubicBezTo>
                      <a:pt x="18769" y="293072"/>
                      <a:pt x="11418" y="287503"/>
                      <a:pt x="5403" y="280374"/>
                    </a:cubicBezTo>
                    <a:cubicBezTo>
                      <a:pt x="-1948" y="271686"/>
                      <a:pt x="-1725" y="261217"/>
                      <a:pt x="5626" y="252752"/>
                    </a:cubicBezTo>
                    <a:cubicBezTo>
                      <a:pt x="9413" y="248296"/>
                      <a:pt x="13200" y="243618"/>
                      <a:pt x="16987" y="238940"/>
                    </a:cubicBezTo>
                    <a:cubicBezTo>
                      <a:pt x="24115" y="230475"/>
                      <a:pt x="31689" y="229362"/>
                      <a:pt x="40822" y="235822"/>
                    </a:cubicBezTo>
                    <a:cubicBezTo>
                      <a:pt x="47060" y="240277"/>
                      <a:pt x="52852" y="245178"/>
                      <a:pt x="59757" y="248519"/>
                    </a:cubicBezTo>
                    <a:cubicBezTo>
                      <a:pt x="77133" y="256984"/>
                      <a:pt x="94954" y="257652"/>
                      <a:pt x="112329" y="249410"/>
                    </a:cubicBezTo>
                    <a:cubicBezTo>
                      <a:pt x="132378" y="240054"/>
                      <a:pt x="134605" y="217555"/>
                      <a:pt x="117453" y="203298"/>
                    </a:cubicBezTo>
                    <a:cubicBezTo>
                      <a:pt x="106983" y="194611"/>
                      <a:pt x="94954" y="188373"/>
                      <a:pt x="82925" y="182359"/>
                    </a:cubicBezTo>
                    <a:cubicBezTo>
                      <a:pt x="65995" y="173894"/>
                      <a:pt x="49287" y="165206"/>
                      <a:pt x="35031" y="152731"/>
                    </a:cubicBezTo>
                    <a:cubicBezTo>
                      <a:pt x="8076" y="129341"/>
                      <a:pt x="-389" y="99491"/>
                      <a:pt x="8076" y="65408"/>
                    </a:cubicBezTo>
                    <a:cubicBezTo>
                      <a:pt x="16319" y="31994"/>
                      <a:pt x="39263" y="11723"/>
                      <a:pt x="72009" y="3703"/>
                    </a:cubicBezTo>
                    <a:cubicBezTo>
                      <a:pt x="106760" y="-4985"/>
                      <a:pt x="139283" y="1698"/>
                      <a:pt x="168243" y="22861"/>
                    </a:cubicBezTo>
                    <a:cubicBezTo>
                      <a:pt x="174034" y="27093"/>
                      <a:pt x="179381" y="31994"/>
                      <a:pt x="181386" y="39568"/>
                    </a:cubicBezTo>
                    <a:cubicBezTo>
                      <a:pt x="183168" y="46251"/>
                      <a:pt x="182054" y="52043"/>
                      <a:pt x="177376" y="57166"/>
                    </a:cubicBezTo>
                    <a:cubicBezTo>
                      <a:pt x="172698" y="62290"/>
                      <a:pt x="168020" y="67191"/>
                      <a:pt x="163119" y="72091"/>
                    </a:cubicBezTo>
                    <a:cubicBezTo>
                      <a:pt x="154209" y="80779"/>
                      <a:pt x="147303" y="80779"/>
                      <a:pt x="138170" y="72537"/>
                    </a:cubicBezTo>
                    <a:cubicBezTo>
                      <a:pt x="122131" y="58280"/>
                      <a:pt x="103864" y="53379"/>
                      <a:pt x="83147" y="59171"/>
                    </a:cubicBezTo>
                    <a:cubicBezTo>
                      <a:pt x="72455" y="62067"/>
                      <a:pt x="65772" y="69641"/>
                      <a:pt x="63544" y="80556"/>
                    </a:cubicBezTo>
                    <a:cubicBezTo>
                      <a:pt x="61317" y="91472"/>
                      <a:pt x="63990" y="101050"/>
                      <a:pt x="73123" y="108402"/>
                    </a:cubicBezTo>
                    <a:cubicBezTo>
                      <a:pt x="84261" y="117312"/>
                      <a:pt x="96736" y="123549"/>
                      <a:pt x="109656" y="129118"/>
                    </a:cubicBezTo>
                    <a:cubicBezTo>
                      <a:pt x="127923" y="137361"/>
                      <a:pt x="145298" y="146939"/>
                      <a:pt x="160669" y="160082"/>
                    </a:cubicBezTo>
                    <a:cubicBezTo>
                      <a:pt x="204776" y="197507"/>
                      <a:pt x="195642" y="271018"/>
                      <a:pt x="141957" y="298641"/>
                    </a:cubicBezTo>
                    <a:cubicBezTo>
                      <a:pt x="124136" y="307551"/>
                      <a:pt x="105646" y="311338"/>
                      <a:pt x="87157" y="311338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8" name="Graphic 13">
                <a:extLst>
                  <a:ext uri="{FF2B5EF4-FFF2-40B4-BE49-F238E27FC236}">
                    <a16:creationId xmlns:a16="http://schemas.microsoft.com/office/drawing/2014/main" id="{02F0CE2D-C189-40FB-AA9D-04D37CFAE93E}"/>
                  </a:ext>
                </a:extLst>
              </p:cNvPr>
              <p:cNvSpPr/>
              <p:nvPr/>
            </p:nvSpPr>
            <p:spPr>
              <a:xfrm>
                <a:off x="1766651" y="1560036"/>
                <a:ext cx="188703" cy="310781"/>
              </a:xfrm>
              <a:custGeom>
                <a:avLst/>
                <a:gdLst>
                  <a:gd name="connsiteX0" fmla="*/ 99996 w 188703"/>
                  <a:gd name="connsiteY0" fmla="*/ 114 h 310781"/>
                  <a:gd name="connsiteX1" fmla="*/ 169052 w 188703"/>
                  <a:gd name="connsiteY1" fmla="*/ 23281 h 310781"/>
                  <a:gd name="connsiteX2" fmla="*/ 179076 w 188703"/>
                  <a:gd name="connsiteY2" fmla="*/ 33528 h 310781"/>
                  <a:gd name="connsiteX3" fmla="*/ 177294 w 188703"/>
                  <a:gd name="connsiteY3" fmla="*/ 56695 h 310781"/>
                  <a:gd name="connsiteX4" fmla="*/ 161032 w 188703"/>
                  <a:gd name="connsiteY4" fmla="*/ 73180 h 310781"/>
                  <a:gd name="connsiteX5" fmla="*/ 138979 w 188703"/>
                  <a:gd name="connsiteY5" fmla="*/ 72511 h 310781"/>
                  <a:gd name="connsiteX6" fmla="*/ 85516 w 188703"/>
                  <a:gd name="connsiteY6" fmla="*/ 57809 h 310781"/>
                  <a:gd name="connsiteX7" fmla="*/ 63685 w 188703"/>
                  <a:gd name="connsiteY7" fmla="*/ 78972 h 310781"/>
                  <a:gd name="connsiteX8" fmla="*/ 73932 w 188703"/>
                  <a:gd name="connsiteY8" fmla="*/ 108599 h 310781"/>
                  <a:gd name="connsiteX9" fmla="*/ 110020 w 188703"/>
                  <a:gd name="connsiteY9" fmla="*/ 128870 h 310781"/>
                  <a:gd name="connsiteX10" fmla="*/ 156800 w 188703"/>
                  <a:gd name="connsiteY10" fmla="*/ 156270 h 310781"/>
                  <a:gd name="connsiteX11" fmla="*/ 143657 w 188703"/>
                  <a:gd name="connsiteY11" fmla="*/ 297056 h 310781"/>
                  <a:gd name="connsiteX12" fmla="*/ 75492 w 188703"/>
                  <a:gd name="connsiteY12" fmla="*/ 310422 h 310781"/>
                  <a:gd name="connsiteX13" fmla="*/ 16905 w 188703"/>
                  <a:gd name="connsiteY13" fmla="*/ 291041 h 310781"/>
                  <a:gd name="connsiteX14" fmla="*/ 4876 w 188703"/>
                  <a:gd name="connsiteY14" fmla="*/ 279680 h 310781"/>
                  <a:gd name="connsiteX15" fmla="*/ 5322 w 188703"/>
                  <a:gd name="connsiteY15" fmla="*/ 252726 h 310781"/>
                  <a:gd name="connsiteX16" fmla="*/ 15791 w 188703"/>
                  <a:gd name="connsiteY16" fmla="*/ 239806 h 310781"/>
                  <a:gd name="connsiteX17" fmla="*/ 42523 w 188703"/>
                  <a:gd name="connsiteY17" fmla="*/ 236910 h 310781"/>
                  <a:gd name="connsiteX18" fmla="*/ 62126 w 188703"/>
                  <a:gd name="connsiteY18" fmla="*/ 249385 h 310781"/>
                  <a:gd name="connsiteX19" fmla="*/ 111579 w 188703"/>
                  <a:gd name="connsiteY19" fmla="*/ 249162 h 310781"/>
                  <a:gd name="connsiteX20" fmla="*/ 117594 w 188703"/>
                  <a:gd name="connsiteY20" fmla="*/ 203273 h 310781"/>
                  <a:gd name="connsiteX21" fmla="*/ 79279 w 188703"/>
                  <a:gd name="connsiteY21" fmla="*/ 180106 h 310781"/>
                  <a:gd name="connsiteX22" fmla="*/ 27152 w 188703"/>
                  <a:gd name="connsiteY22" fmla="*/ 144909 h 310781"/>
                  <a:gd name="connsiteX23" fmla="*/ 9777 w 188703"/>
                  <a:gd name="connsiteY23" fmla="*/ 58700 h 310781"/>
                  <a:gd name="connsiteX24" fmla="*/ 75714 w 188703"/>
                  <a:gd name="connsiteY24" fmla="*/ 2341 h 310781"/>
                  <a:gd name="connsiteX25" fmla="*/ 99996 w 188703"/>
                  <a:gd name="connsiteY25" fmla="*/ 114 h 31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8703" h="310781">
                    <a:moveTo>
                      <a:pt x="99996" y="114"/>
                    </a:moveTo>
                    <a:cubicBezTo>
                      <a:pt x="125613" y="-555"/>
                      <a:pt x="148335" y="8133"/>
                      <a:pt x="169052" y="23281"/>
                    </a:cubicBezTo>
                    <a:cubicBezTo>
                      <a:pt x="172839" y="26177"/>
                      <a:pt x="176626" y="29296"/>
                      <a:pt x="179076" y="33528"/>
                    </a:cubicBezTo>
                    <a:cubicBezTo>
                      <a:pt x="183532" y="41547"/>
                      <a:pt x="183309" y="50235"/>
                      <a:pt x="177294" y="56695"/>
                    </a:cubicBezTo>
                    <a:cubicBezTo>
                      <a:pt x="172171" y="62487"/>
                      <a:pt x="166824" y="68279"/>
                      <a:pt x="161032" y="73180"/>
                    </a:cubicBezTo>
                    <a:cubicBezTo>
                      <a:pt x="153013" y="80085"/>
                      <a:pt x="146776" y="79640"/>
                      <a:pt x="138979" y="72511"/>
                    </a:cubicBezTo>
                    <a:cubicBezTo>
                      <a:pt x="123608" y="58477"/>
                      <a:pt x="106010" y="53354"/>
                      <a:pt x="85516" y="57809"/>
                    </a:cubicBezTo>
                    <a:cubicBezTo>
                      <a:pt x="73932" y="60259"/>
                      <a:pt x="66581" y="67388"/>
                      <a:pt x="63685" y="78972"/>
                    </a:cubicBezTo>
                    <a:cubicBezTo>
                      <a:pt x="60567" y="91001"/>
                      <a:pt x="64131" y="101025"/>
                      <a:pt x="73932" y="108599"/>
                    </a:cubicBezTo>
                    <a:cubicBezTo>
                      <a:pt x="84848" y="117287"/>
                      <a:pt x="97322" y="123301"/>
                      <a:pt x="110020" y="128870"/>
                    </a:cubicBezTo>
                    <a:cubicBezTo>
                      <a:pt x="126727" y="136221"/>
                      <a:pt x="142320" y="145132"/>
                      <a:pt x="156800" y="156270"/>
                    </a:cubicBezTo>
                    <a:cubicBezTo>
                      <a:pt x="205585" y="194140"/>
                      <a:pt x="196229" y="268765"/>
                      <a:pt x="143657" y="297056"/>
                    </a:cubicBezTo>
                    <a:cubicBezTo>
                      <a:pt x="122272" y="308640"/>
                      <a:pt x="99550" y="311981"/>
                      <a:pt x="75492" y="310422"/>
                    </a:cubicBezTo>
                    <a:cubicBezTo>
                      <a:pt x="54106" y="309085"/>
                      <a:pt x="34281" y="303962"/>
                      <a:pt x="16905" y="291041"/>
                    </a:cubicBezTo>
                    <a:cubicBezTo>
                      <a:pt x="12450" y="287700"/>
                      <a:pt x="8440" y="283913"/>
                      <a:pt x="4876" y="279680"/>
                    </a:cubicBezTo>
                    <a:cubicBezTo>
                      <a:pt x="-1807" y="271438"/>
                      <a:pt x="-1584" y="260968"/>
                      <a:pt x="5322" y="252726"/>
                    </a:cubicBezTo>
                    <a:cubicBezTo>
                      <a:pt x="8886" y="248494"/>
                      <a:pt x="12450" y="244038"/>
                      <a:pt x="15791" y="239806"/>
                    </a:cubicBezTo>
                    <a:cubicBezTo>
                      <a:pt x="24256" y="229559"/>
                      <a:pt x="32053" y="228668"/>
                      <a:pt x="42523" y="236910"/>
                    </a:cubicBezTo>
                    <a:cubicBezTo>
                      <a:pt x="48760" y="241588"/>
                      <a:pt x="54998" y="246266"/>
                      <a:pt x="62126" y="249385"/>
                    </a:cubicBezTo>
                    <a:cubicBezTo>
                      <a:pt x="78610" y="256513"/>
                      <a:pt x="95318" y="256736"/>
                      <a:pt x="111579" y="249162"/>
                    </a:cubicBezTo>
                    <a:cubicBezTo>
                      <a:pt x="131851" y="239806"/>
                      <a:pt x="134524" y="217752"/>
                      <a:pt x="117594" y="203273"/>
                    </a:cubicBezTo>
                    <a:cubicBezTo>
                      <a:pt x="106010" y="193471"/>
                      <a:pt x="92644" y="186788"/>
                      <a:pt x="79279" y="180106"/>
                    </a:cubicBezTo>
                    <a:cubicBezTo>
                      <a:pt x="60344" y="170527"/>
                      <a:pt x="41855" y="160503"/>
                      <a:pt x="27152" y="144909"/>
                    </a:cubicBezTo>
                    <a:cubicBezTo>
                      <a:pt x="3985" y="119737"/>
                      <a:pt x="-693" y="90110"/>
                      <a:pt x="9777" y="58700"/>
                    </a:cubicBezTo>
                    <a:cubicBezTo>
                      <a:pt x="20247" y="27068"/>
                      <a:pt x="43859" y="9470"/>
                      <a:pt x="75714" y="2341"/>
                    </a:cubicBezTo>
                    <a:cubicBezTo>
                      <a:pt x="83511" y="559"/>
                      <a:pt x="91753" y="-332"/>
                      <a:pt x="99996" y="114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9" name="Graphic 13">
                <a:extLst>
                  <a:ext uri="{FF2B5EF4-FFF2-40B4-BE49-F238E27FC236}">
                    <a16:creationId xmlns:a16="http://schemas.microsoft.com/office/drawing/2014/main" id="{68774EC6-3700-4912-8FD5-488D7BBD3590}"/>
                  </a:ext>
                </a:extLst>
              </p:cNvPr>
              <p:cNvSpPr/>
              <p:nvPr/>
            </p:nvSpPr>
            <p:spPr>
              <a:xfrm>
                <a:off x="1807515" y="1137089"/>
                <a:ext cx="149294" cy="297867"/>
              </a:xfrm>
              <a:custGeom>
                <a:avLst/>
                <a:gdLst>
                  <a:gd name="connsiteX0" fmla="*/ 322 w 149294"/>
                  <a:gd name="connsiteY0" fmla="*/ 189828 h 297867"/>
                  <a:gd name="connsiteX1" fmla="*/ 545 w 149294"/>
                  <a:gd name="connsiteY1" fmla="*/ 102505 h 297867"/>
                  <a:gd name="connsiteX2" fmla="*/ 33959 w 149294"/>
                  <a:gd name="connsiteY2" fmla="*/ 24761 h 297867"/>
                  <a:gd name="connsiteX3" fmla="*/ 100119 w 149294"/>
                  <a:gd name="connsiteY3" fmla="*/ 257 h 297867"/>
                  <a:gd name="connsiteX4" fmla="*/ 129524 w 149294"/>
                  <a:gd name="connsiteY4" fmla="*/ 257 h 297867"/>
                  <a:gd name="connsiteX5" fmla="*/ 149127 w 149294"/>
                  <a:gd name="connsiteY5" fmla="*/ 19415 h 297867"/>
                  <a:gd name="connsiteX6" fmla="*/ 149127 w 149294"/>
                  <a:gd name="connsiteY6" fmla="*/ 37236 h 297867"/>
                  <a:gd name="connsiteX7" fmla="*/ 129524 w 149294"/>
                  <a:gd name="connsiteY7" fmla="*/ 56616 h 297867"/>
                  <a:gd name="connsiteX8" fmla="*/ 109030 w 149294"/>
                  <a:gd name="connsiteY8" fmla="*/ 56616 h 297867"/>
                  <a:gd name="connsiteX9" fmla="*/ 61136 w 149294"/>
                  <a:gd name="connsiteY9" fmla="*/ 97382 h 297867"/>
                  <a:gd name="connsiteX10" fmla="*/ 59799 w 149294"/>
                  <a:gd name="connsiteY10" fmla="*/ 117208 h 297867"/>
                  <a:gd name="connsiteX11" fmla="*/ 59799 w 149294"/>
                  <a:gd name="connsiteY11" fmla="*/ 276260 h 297867"/>
                  <a:gd name="connsiteX12" fmla="*/ 38191 w 149294"/>
                  <a:gd name="connsiteY12" fmla="*/ 297868 h 297867"/>
                  <a:gd name="connsiteX13" fmla="*/ 20370 w 149294"/>
                  <a:gd name="connsiteY13" fmla="*/ 297868 h 297867"/>
                  <a:gd name="connsiteX14" fmla="*/ 99 w 149294"/>
                  <a:gd name="connsiteY14" fmla="*/ 278042 h 297867"/>
                  <a:gd name="connsiteX15" fmla="*/ 99 w 149294"/>
                  <a:gd name="connsiteY15" fmla="*/ 246855 h 297867"/>
                  <a:gd name="connsiteX16" fmla="*/ 99 w 149294"/>
                  <a:gd name="connsiteY16" fmla="*/ 189605 h 297867"/>
                  <a:gd name="connsiteX17" fmla="*/ 322 w 149294"/>
                  <a:gd name="connsiteY17" fmla="*/ 189605 h 29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9294" h="297867">
                    <a:moveTo>
                      <a:pt x="322" y="189828"/>
                    </a:moveTo>
                    <a:cubicBezTo>
                      <a:pt x="322" y="160646"/>
                      <a:pt x="-347" y="131687"/>
                      <a:pt x="545" y="102505"/>
                    </a:cubicBezTo>
                    <a:cubicBezTo>
                      <a:pt x="1213" y="72432"/>
                      <a:pt x="11237" y="45478"/>
                      <a:pt x="33959" y="24761"/>
                    </a:cubicBezTo>
                    <a:cubicBezTo>
                      <a:pt x="52671" y="7608"/>
                      <a:pt x="75393" y="1148"/>
                      <a:pt x="100119" y="257"/>
                    </a:cubicBezTo>
                    <a:cubicBezTo>
                      <a:pt x="109921" y="-188"/>
                      <a:pt x="119723" y="34"/>
                      <a:pt x="129524" y="257"/>
                    </a:cubicBezTo>
                    <a:cubicBezTo>
                      <a:pt x="141776" y="257"/>
                      <a:pt x="148904" y="7163"/>
                      <a:pt x="149127" y="19415"/>
                    </a:cubicBezTo>
                    <a:cubicBezTo>
                      <a:pt x="149350" y="25429"/>
                      <a:pt x="149350" y="31221"/>
                      <a:pt x="149127" y="37236"/>
                    </a:cubicBezTo>
                    <a:cubicBezTo>
                      <a:pt x="148682" y="49488"/>
                      <a:pt x="141999" y="56393"/>
                      <a:pt x="129524" y="56616"/>
                    </a:cubicBezTo>
                    <a:cubicBezTo>
                      <a:pt x="122618" y="56839"/>
                      <a:pt x="115713" y="56616"/>
                      <a:pt x="109030" y="56616"/>
                    </a:cubicBezTo>
                    <a:cubicBezTo>
                      <a:pt x="82521" y="56616"/>
                      <a:pt x="65591" y="71096"/>
                      <a:pt x="61136" y="97382"/>
                    </a:cubicBezTo>
                    <a:cubicBezTo>
                      <a:pt x="60022" y="104065"/>
                      <a:pt x="59799" y="110747"/>
                      <a:pt x="59799" y="117208"/>
                    </a:cubicBezTo>
                    <a:cubicBezTo>
                      <a:pt x="59799" y="170225"/>
                      <a:pt x="59799" y="223242"/>
                      <a:pt x="59799" y="276260"/>
                    </a:cubicBezTo>
                    <a:cubicBezTo>
                      <a:pt x="59799" y="291408"/>
                      <a:pt x="53116" y="297868"/>
                      <a:pt x="38191" y="297868"/>
                    </a:cubicBezTo>
                    <a:cubicBezTo>
                      <a:pt x="32177" y="297868"/>
                      <a:pt x="26385" y="297868"/>
                      <a:pt x="20370" y="297868"/>
                    </a:cubicBezTo>
                    <a:cubicBezTo>
                      <a:pt x="7673" y="297868"/>
                      <a:pt x="322" y="290962"/>
                      <a:pt x="99" y="278042"/>
                    </a:cubicBezTo>
                    <a:cubicBezTo>
                      <a:pt x="-124" y="267572"/>
                      <a:pt x="99" y="257325"/>
                      <a:pt x="99" y="246855"/>
                    </a:cubicBezTo>
                    <a:lnTo>
                      <a:pt x="99" y="189605"/>
                    </a:lnTo>
                    <a:lnTo>
                      <a:pt x="322" y="189605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0" name="Graphic 13">
                <a:extLst>
                  <a:ext uri="{FF2B5EF4-FFF2-40B4-BE49-F238E27FC236}">
                    <a16:creationId xmlns:a16="http://schemas.microsoft.com/office/drawing/2014/main" id="{7CE7D503-A547-4785-9189-E3A1779C1F4A}"/>
                  </a:ext>
                </a:extLst>
              </p:cNvPr>
              <p:cNvSpPr/>
              <p:nvPr/>
            </p:nvSpPr>
            <p:spPr>
              <a:xfrm>
                <a:off x="1646334" y="1566610"/>
                <a:ext cx="59923" cy="298155"/>
              </a:xfrm>
              <a:custGeom>
                <a:avLst/>
                <a:gdLst>
                  <a:gd name="connsiteX0" fmla="*/ 59923 w 59923"/>
                  <a:gd name="connsiteY0" fmla="*/ 149251 h 298155"/>
                  <a:gd name="connsiteX1" fmla="*/ 59923 w 59923"/>
                  <a:gd name="connsiteY1" fmla="*/ 274889 h 298155"/>
                  <a:gd name="connsiteX2" fmla="*/ 36533 w 59923"/>
                  <a:gd name="connsiteY2" fmla="*/ 298056 h 298155"/>
                  <a:gd name="connsiteX3" fmla="*/ 19826 w 59923"/>
                  <a:gd name="connsiteY3" fmla="*/ 298056 h 298155"/>
                  <a:gd name="connsiteX4" fmla="*/ 0 w 59923"/>
                  <a:gd name="connsiteY4" fmla="*/ 277785 h 298155"/>
                  <a:gd name="connsiteX5" fmla="*/ 0 w 59923"/>
                  <a:gd name="connsiteY5" fmla="*/ 244370 h 298155"/>
                  <a:gd name="connsiteX6" fmla="*/ 0 w 59923"/>
                  <a:gd name="connsiteY6" fmla="*/ 22053 h 298155"/>
                  <a:gd name="connsiteX7" fmla="*/ 21831 w 59923"/>
                  <a:gd name="connsiteY7" fmla="*/ 0 h 298155"/>
                  <a:gd name="connsiteX8" fmla="*/ 38983 w 59923"/>
                  <a:gd name="connsiteY8" fmla="*/ 0 h 298155"/>
                  <a:gd name="connsiteX9" fmla="*/ 59700 w 59923"/>
                  <a:gd name="connsiteY9" fmla="*/ 20940 h 298155"/>
                  <a:gd name="connsiteX10" fmla="*/ 59700 w 59923"/>
                  <a:gd name="connsiteY10" fmla="*/ 71952 h 298155"/>
                  <a:gd name="connsiteX11" fmla="*/ 59700 w 59923"/>
                  <a:gd name="connsiteY11" fmla="*/ 149251 h 298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9923" h="298155">
                    <a:moveTo>
                      <a:pt x="59923" y="149251"/>
                    </a:moveTo>
                    <a:cubicBezTo>
                      <a:pt x="59923" y="191130"/>
                      <a:pt x="59923" y="233009"/>
                      <a:pt x="59923" y="274889"/>
                    </a:cubicBezTo>
                    <a:cubicBezTo>
                      <a:pt x="59923" y="291596"/>
                      <a:pt x="53463" y="298056"/>
                      <a:pt x="36533" y="298056"/>
                    </a:cubicBezTo>
                    <a:cubicBezTo>
                      <a:pt x="30964" y="298056"/>
                      <a:pt x="25395" y="298279"/>
                      <a:pt x="19826" y="298056"/>
                    </a:cubicBezTo>
                    <a:cubicBezTo>
                      <a:pt x="7128" y="297833"/>
                      <a:pt x="0" y="290705"/>
                      <a:pt x="0" y="277785"/>
                    </a:cubicBezTo>
                    <a:cubicBezTo>
                      <a:pt x="0" y="266647"/>
                      <a:pt x="0" y="255509"/>
                      <a:pt x="0" y="244370"/>
                    </a:cubicBezTo>
                    <a:cubicBezTo>
                      <a:pt x="0" y="170190"/>
                      <a:pt x="0" y="96233"/>
                      <a:pt x="0" y="22053"/>
                    </a:cubicBezTo>
                    <a:cubicBezTo>
                      <a:pt x="0" y="6460"/>
                      <a:pt x="6460" y="0"/>
                      <a:pt x="21831" y="0"/>
                    </a:cubicBezTo>
                    <a:cubicBezTo>
                      <a:pt x="27623" y="0"/>
                      <a:pt x="33414" y="0"/>
                      <a:pt x="38983" y="0"/>
                    </a:cubicBezTo>
                    <a:cubicBezTo>
                      <a:pt x="52795" y="223"/>
                      <a:pt x="59700" y="7128"/>
                      <a:pt x="59700" y="20940"/>
                    </a:cubicBezTo>
                    <a:cubicBezTo>
                      <a:pt x="59700" y="37870"/>
                      <a:pt x="59700" y="55022"/>
                      <a:pt x="59700" y="71952"/>
                    </a:cubicBezTo>
                    <a:lnTo>
                      <a:pt x="59700" y="149251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85248392"/>
      </p:ext>
    </p:extLst>
  </p:cSld>
  <p:clrMapOvr>
    <a:masterClrMapping/>
  </p:clrMapOvr>
  <p:transition spd="med"/>
  <p:hf sldNum="0" hdr="0" ft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dedia met socia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4">
            <a:extLst>
              <a:ext uri="{FF2B5EF4-FFF2-40B4-BE49-F238E27FC236}">
                <a16:creationId xmlns:a16="http://schemas.microsoft.com/office/drawing/2014/main" id="{59C95FE6-D8BF-4725-ACC6-FB8975F31B9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61463" y="224444"/>
            <a:ext cx="6532926" cy="6459385"/>
          </a:xfrm>
          <a:prstGeom prst="round2DiagRect">
            <a:avLst>
              <a:gd name="adj1" fmla="val 44527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C4B4FD0-60E8-42A7-BBF1-AFDA0A7CE8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88750" y="6852424"/>
            <a:ext cx="405638" cy="271869"/>
          </a:xfrm>
        </p:spPr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Pand Noord…">
            <a:extLst>
              <a:ext uri="{FF2B5EF4-FFF2-40B4-BE49-F238E27FC236}">
                <a16:creationId xmlns:a16="http://schemas.microsoft.com/office/drawing/2014/main" id="{1C503A6F-85C2-4B44-A293-B9FE153D7193}"/>
              </a:ext>
            </a:extLst>
          </p:cNvPr>
          <p:cNvSpPr txBox="1"/>
          <p:nvPr userDrawn="1"/>
        </p:nvSpPr>
        <p:spPr>
          <a:xfrm>
            <a:off x="239374" y="5924582"/>
            <a:ext cx="1504836" cy="743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 err="1"/>
              <a:t>Pand</a:t>
            </a:r>
            <a:r>
              <a:rPr sz="1500"/>
              <a:t> Noord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 err="1"/>
              <a:t>Meeuwenlaan</a:t>
            </a:r>
            <a:r>
              <a:rPr sz="1500"/>
              <a:t> 100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/>
              <a:t>1021 JL Amsterdam</a:t>
            </a:r>
          </a:p>
        </p:txBody>
      </p:sp>
      <p:sp>
        <p:nvSpPr>
          <p:cNvPr id="11" name="+31 (0) 20 447 39 25…">
            <a:extLst>
              <a:ext uri="{FF2B5EF4-FFF2-40B4-BE49-F238E27FC236}">
                <a16:creationId xmlns:a16="http://schemas.microsoft.com/office/drawing/2014/main" id="{CB01E701-D776-49C1-AD9D-8F05749A2957}"/>
              </a:ext>
            </a:extLst>
          </p:cNvPr>
          <p:cNvSpPr txBox="1"/>
          <p:nvPr userDrawn="1"/>
        </p:nvSpPr>
        <p:spPr>
          <a:xfrm>
            <a:off x="2011539" y="5924582"/>
            <a:ext cx="1698094" cy="743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/>
              <a:t>+31 (0) 20 447 39 25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/>
              <a:t>info@squarewise.com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/>
              <a:t>squarewise.com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280E3EE-3C3F-4782-AE3A-9325A183BF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5" y="206685"/>
            <a:ext cx="1082626" cy="1082626"/>
          </a:xfrm>
          <a:prstGeom prst="rect">
            <a:avLst/>
          </a:prstGeom>
        </p:spPr>
      </p:pic>
      <p:sp>
        <p:nvSpPr>
          <p:cNvPr id="13" name="Tijdelijke aanduiding voor datum 4">
            <a:extLst>
              <a:ext uri="{FF2B5EF4-FFF2-40B4-BE49-F238E27FC236}">
                <a16:creationId xmlns:a16="http://schemas.microsoft.com/office/drawing/2014/main" id="{FB78E81C-0E0D-42C6-94AB-735DF66E9C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27347367-9FB0-4D0C-8447-0E9362348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/>
              <a:t>Voettekst</a:t>
            </a:r>
          </a:p>
        </p:txBody>
      </p:sp>
      <p:sp>
        <p:nvSpPr>
          <p:cNvPr id="9" name="Forme libre : forme 3">
            <a:hlinkClick r:id="rId4"/>
            <a:extLst>
              <a:ext uri="{FF2B5EF4-FFF2-40B4-BE49-F238E27FC236}">
                <a16:creationId xmlns:a16="http://schemas.microsoft.com/office/drawing/2014/main" id="{F93A93A9-20F0-491E-95F6-F1280C48C6E7}"/>
              </a:ext>
            </a:extLst>
          </p:cNvPr>
          <p:cNvSpPr/>
          <p:nvPr userDrawn="1"/>
        </p:nvSpPr>
        <p:spPr>
          <a:xfrm>
            <a:off x="254010" y="5219281"/>
            <a:ext cx="213577" cy="435694"/>
          </a:xfrm>
          <a:custGeom>
            <a:avLst/>
            <a:gdLst>
              <a:gd name="connsiteX0" fmla="*/ 159544 w 238125"/>
              <a:gd name="connsiteY0" fmla="*/ 111919 h 485775"/>
              <a:gd name="connsiteX1" fmla="*/ 159544 w 238125"/>
              <a:gd name="connsiteY1" fmla="*/ 159544 h 485775"/>
              <a:gd name="connsiteX2" fmla="*/ 235744 w 238125"/>
              <a:gd name="connsiteY2" fmla="*/ 159544 h 485775"/>
              <a:gd name="connsiteX3" fmla="*/ 226219 w 238125"/>
              <a:gd name="connsiteY3" fmla="*/ 245269 h 485775"/>
              <a:gd name="connsiteX4" fmla="*/ 159544 w 238125"/>
              <a:gd name="connsiteY4" fmla="*/ 245269 h 485775"/>
              <a:gd name="connsiteX5" fmla="*/ 159544 w 238125"/>
              <a:gd name="connsiteY5" fmla="*/ 483394 h 485775"/>
              <a:gd name="connsiteX6" fmla="*/ 54769 w 238125"/>
              <a:gd name="connsiteY6" fmla="*/ 483394 h 485775"/>
              <a:gd name="connsiteX7" fmla="*/ 54769 w 238125"/>
              <a:gd name="connsiteY7" fmla="*/ 245269 h 485775"/>
              <a:gd name="connsiteX8" fmla="*/ 7144 w 238125"/>
              <a:gd name="connsiteY8" fmla="*/ 245269 h 485775"/>
              <a:gd name="connsiteX9" fmla="*/ 7144 w 238125"/>
              <a:gd name="connsiteY9" fmla="*/ 159544 h 485775"/>
              <a:gd name="connsiteX10" fmla="*/ 54769 w 238125"/>
              <a:gd name="connsiteY10" fmla="*/ 159544 h 485775"/>
              <a:gd name="connsiteX11" fmla="*/ 54769 w 238125"/>
              <a:gd name="connsiteY11" fmla="*/ 111919 h 485775"/>
              <a:gd name="connsiteX12" fmla="*/ 130969 w 238125"/>
              <a:gd name="connsiteY12" fmla="*/ 7144 h 485775"/>
              <a:gd name="connsiteX13" fmla="*/ 235744 w 238125"/>
              <a:gd name="connsiteY13" fmla="*/ 7144 h 485775"/>
              <a:gd name="connsiteX14" fmla="*/ 235744 w 238125"/>
              <a:gd name="connsiteY14" fmla="*/ 83344 h 485775"/>
              <a:gd name="connsiteX15" fmla="*/ 188119 w 238125"/>
              <a:gd name="connsiteY15" fmla="*/ 83344 h 485775"/>
              <a:gd name="connsiteX16" fmla="*/ 159544 w 238125"/>
              <a:gd name="connsiteY16" fmla="*/ 111919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38125" h="485775">
                <a:moveTo>
                  <a:pt x="159544" y="111919"/>
                </a:moveTo>
                <a:lnTo>
                  <a:pt x="159544" y="159544"/>
                </a:lnTo>
                <a:lnTo>
                  <a:pt x="235744" y="159544"/>
                </a:lnTo>
                <a:lnTo>
                  <a:pt x="226219" y="245269"/>
                </a:lnTo>
                <a:lnTo>
                  <a:pt x="159544" y="245269"/>
                </a:lnTo>
                <a:lnTo>
                  <a:pt x="159544" y="483394"/>
                </a:lnTo>
                <a:lnTo>
                  <a:pt x="54769" y="483394"/>
                </a:lnTo>
                <a:lnTo>
                  <a:pt x="54769" y="245269"/>
                </a:lnTo>
                <a:lnTo>
                  <a:pt x="7144" y="245269"/>
                </a:lnTo>
                <a:lnTo>
                  <a:pt x="7144" y="159544"/>
                </a:lnTo>
                <a:lnTo>
                  <a:pt x="54769" y="159544"/>
                </a:lnTo>
                <a:lnTo>
                  <a:pt x="54769" y="111919"/>
                </a:lnTo>
                <a:cubicBezTo>
                  <a:pt x="54769" y="111919"/>
                  <a:pt x="46196" y="21431"/>
                  <a:pt x="130969" y="7144"/>
                </a:cubicBezTo>
                <a:lnTo>
                  <a:pt x="235744" y="7144"/>
                </a:lnTo>
                <a:lnTo>
                  <a:pt x="235744" y="83344"/>
                </a:lnTo>
                <a:lnTo>
                  <a:pt x="188119" y="83344"/>
                </a:lnTo>
                <a:cubicBezTo>
                  <a:pt x="188119" y="83344"/>
                  <a:pt x="161449" y="82391"/>
                  <a:pt x="159544" y="111919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4800"/>
          </a:p>
        </p:txBody>
      </p:sp>
      <p:sp>
        <p:nvSpPr>
          <p:cNvPr id="15" name="Forme libre : forme 4">
            <a:hlinkClick r:id="rId5"/>
            <a:extLst>
              <a:ext uri="{FF2B5EF4-FFF2-40B4-BE49-F238E27FC236}">
                <a16:creationId xmlns:a16="http://schemas.microsoft.com/office/drawing/2014/main" id="{8FAA4836-3521-45EA-B408-13F34D08DF18}"/>
              </a:ext>
            </a:extLst>
          </p:cNvPr>
          <p:cNvSpPr/>
          <p:nvPr userDrawn="1"/>
        </p:nvSpPr>
        <p:spPr>
          <a:xfrm>
            <a:off x="2031104" y="5296169"/>
            <a:ext cx="435694" cy="358806"/>
          </a:xfrm>
          <a:custGeom>
            <a:avLst/>
            <a:gdLst>
              <a:gd name="connsiteX0" fmla="*/ 435769 w 485775"/>
              <a:gd name="connsiteY0" fmla="*/ 73819 h 400050"/>
              <a:gd name="connsiteX1" fmla="*/ 483394 w 485775"/>
              <a:gd name="connsiteY1" fmla="*/ 64294 h 400050"/>
              <a:gd name="connsiteX2" fmla="*/ 435769 w 485775"/>
              <a:gd name="connsiteY2" fmla="*/ 111919 h 400050"/>
              <a:gd name="connsiteX3" fmla="*/ 435769 w 485775"/>
              <a:gd name="connsiteY3" fmla="*/ 111919 h 400050"/>
              <a:gd name="connsiteX4" fmla="*/ 435769 w 485775"/>
              <a:gd name="connsiteY4" fmla="*/ 140494 h 400050"/>
              <a:gd name="connsiteX5" fmla="*/ 7144 w 485775"/>
              <a:gd name="connsiteY5" fmla="*/ 359569 h 400050"/>
              <a:gd name="connsiteX6" fmla="*/ 140494 w 485775"/>
              <a:gd name="connsiteY6" fmla="*/ 311944 h 400050"/>
              <a:gd name="connsiteX7" fmla="*/ 54769 w 485775"/>
              <a:gd name="connsiteY7" fmla="*/ 254794 h 400050"/>
              <a:gd name="connsiteX8" fmla="*/ 92869 w 485775"/>
              <a:gd name="connsiteY8" fmla="*/ 245269 h 400050"/>
              <a:gd name="connsiteX9" fmla="*/ 26194 w 485775"/>
              <a:gd name="connsiteY9" fmla="*/ 150019 h 400050"/>
              <a:gd name="connsiteX10" fmla="*/ 72866 w 485775"/>
              <a:gd name="connsiteY10" fmla="*/ 168116 h 400050"/>
              <a:gd name="connsiteX11" fmla="*/ 35719 w 485775"/>
              <a:gd name="connsiteY11" fmla="*/ 26194 h 400050"/>
              <a:gd name="connsiteX12" fmla="*/ 229076 w 485775"/>
              <a:gd name="connsiteY12" fmla="*/ 130016 h 400050"/>
              <a:gd name="connsiteX13" fmla="*/ 238601 w 485775"/>
              <a:gd name="connsiteY13" fmla="*/ 128111 h 400050"/>
              <a:gd name="connsiteX14" fmla="*/ 236696 w 485775"/>
              <a:gd name="connsiteY14" fmla="*/ 107156 h 400050"/>
              <a:gd name="connsiteX15" fmla="*/ 336709 w 485775"/>
              <a:gd name="connsiteY15" fmla="*/ 7144 h 400050"/>
              <a:gd name="connsiteX16" fmla="*/ 417671 w 485775"/>
              <a:gd name="connsiteY16" fmla="*/ 45244 h 400050"/>
              <a:gd name="connsiteX17" fmla="*/ 465296 w 485775"/>
              <a:gd name="connsiteY17" fmla="*/ 16669 h 400050"/>
              <a:gd name="connsiteX18" fmla="*/ 435769 w 485775"/>
              <a:gd name="connsiteY18" fmla="*/ 73819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85775" h="400050">
                <a:moveTo>
                  <a:pt x="435769" y="73819"/>
                </a:moveTo>
                <a:lnTo>
                  <a:pt x="483394" y="64294"/>
                </a:lnTo>
                <a:cubicBezTo>
                  <a:pt x="483394" y="64294"/>
                  <a:pt x="443389" y="109061"/>
                  <a:pt x="435769" y="111919"/>
                </a:cubicBezTo>
                <a:lnTo>
                  <a:pt x="435769" y="111919"/>
                </a:lnTo>
                <a:cubicBezTo>
                  <a:pt x="434816" y="133826"/>
                  <a:pt x="435769" y="140494"/>
                  <a:pt x="435769" y="140494"/>
                </a:cubicBezTo>
                <a:cubicBezTo>
                  <a:pt x="344329" y="532924"/>
                  <a:pt x="7144" y="359569"/>
                  <a:pt x="7144" y="359569"/>
                </a:cubicBezTo>
                <a:cubicBezTo>
                  <a:pt x="130016" y="362426"/>
                  <a:pt x="140494" y="311944"/>
                  <a:pt x="140494" y="311944"/>
                </a:cubicBezTo>
                <a:cubicBezTo>
                  <a:pt x="69056" y="301466"/>
                  <a:pt x="54769" y="254794"/>
                  <a:pt x="54769" y="254794"/>
                </a:cubicBezTo>
                <a:cubicBezTo>
                  <a:pt x="79534" y="266224"/>
                  <a:pt x="92869" y="245269"/>
                  <a:pt x="92869" y="245269"/>
                </a:cubicBezTo>
                <a:cubicBezTo>
                  <a:pt x="15716" y="225266"/>
                  <a:pt x="26194" y="150019"/>
                  <a:pt x="26194" y="150019"/>
                </a:cubicBezTo>
                <a:cubicBezTo>
                  <a:pt x="39529" y="161449"/>
                  <a:pt x="60484" y="166211"/>
                  <a:pt x="72866" y="168116"/>
                </a:cubicBezTo>
                <a:cubicBezTo>
                  <a:pt x="64294" y="157639"/>
                  <a:pt x="-8096" y="70961"/>
                  <a:pt x="35719" y="26194"/>
                </a:cubicBezTo>
                <a:cubicBezTo>
                  <a:pt x="35719" y="26194"/>
                  <a:pt x="89059" y="121444"/>
                  <a:pt x="229076" y="130016"/>
                </a:cubicBezTo>
                <a:lnTo>
                  <a:pt x="238601" y="128111"/>
                </a:lnTo>
                <a:cubicBezTo>
                  <a:pt x="236696" y="121444"/>
                  <a:pt x="236696" y="114776"/>
                  <a:pt x="236696" y="107156"/>
                </a:cubicBezTo>
                <a:cubicBezTo>
                  <a:pt x="236696" y="51911"/>
                  <a:pt x="281464" y="7144"/>
                  <a:pt x="336709" y="7144"/>
                </a:cubicBezTo>
                <a:cubicBezTo>
                  <a:pt x="403384" y="7144"/>
                  <a:pt x="417671" y="45244"/>
                  <a:pt x="417671" y="45244"/>
                </a:cubicBezTo>
                <a:lnTo>
                  <a:pt x="465296" y="16669"/>
                </a:lnTo>
                <a:cubicBezTo>
                  <a:pt x="464344" y="16669"/>
                  <a:pt x="459581" y="64294"/>
                  <a:pt x="435769" y="73819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4800"/>
          </a:p>
        </p:txBody>
      </p:sp>
      <p:sp>
        <p:nvSpPr>
          <p:cNvPr id="16" name="Forme libre : forme 6">
            <a:hlinkClick r:id="rId6"/>
            <a:extLst>
              <a:ext uri="{FF2B5EF4-FFF2-40B4-BE49-F238E27FC236}">
                <a16:creationId xmlns:a16="http://schemas.microsoft.com/office/drawing/2014/main" id="{F47B0E42-6549-458D-A58A-A3E28014EF0E}"/>
              </a:ext>
            </a:extLst>
          </p:cNvPr>
          <p:cNvSpPr/>
          <p:nvPr userDrawn="1"/>
        </p:nvSpPr>
        <p:spPr>
          <a:xfrm>
            <a:off x="1054779" y="5232096"/>
            <a:ext cx="435694" cy="410064"/>
          </a:xfrm>
          <a:custGeom>
            <a:avLst/>
            <a:gdLst>
              <a:gd name="connsiteX0" fmla="*/ 388144 w 485775"/>
              <a:gd name="connsiteY0" fmla="*/ 454819 h 457200"/>
              <a:gd name="connsiteX1" fmla="*/ 388144 w 485775"/>
              <a:gd name="connsiteY1" fmla="*/ 268129 h 457200"/>
              <a:gd name="connsiteX2" fmla="*/ 340519 w 485775"/>
              <a:gd name="connsiteY2" fmla="*/ 230981 h 457200"/>
              <a:gd name="connsiteX3" fmla="*/ 273844 w 485775"/>
              <a:gd name="connsiteY3" fmla="*/ 258604 h 457200"/>
              <a:gd name="connsiteX4" fmla="*/ 273844 w 485775"/>
              <a:gd name="connsiteY4" fmla="*/ 454819 h 457200"/>
              <a:gd name="connsiteX5" fmla="*/ 178594 w 485775"/>
              <a:gd name="connsiteY5" fmla="*/ 454819 h 457200"/>
              <a:gd name="connsiteX6" fmla="*/ 178594 w 485775"/>
              <a:gd name="connsiteY6" fmla="*/ 159544 h 457200"/>
              <a:gd name="connsiteX7" fmla="*/ 273844 w 485775"/>
              <a:gd name="connsiteY7" fmla="*/ 159544 h 457200"/>
              <a:gd name="connsiteX8" fmla="*/ 273844 w 485775"/>
              <a:gd name="connsiteY8" fmla="*/ 203359 h 457200"/>
              <a:gd name="connsiteX9" fmla="*/ 369094 w 485775"/>
              <a:gd name="connsiteY9" fmla="*/ 147161 h 457200"/>
              <a:gd name="connsiteX10" fmla="*/ 481489 w 485775"/>
              <a:gd name="connsiteY10" fmla="*/ 264319 h 457200"/>
              <a:gd name="connsiteX11" fmla="*/ 483394 w 485775"/>
              <a:gd name="connsiteY11" fmla="*/ 264319 h 457200"/>
              <a:gd name="connsiteX12" fmla="*/ 483394 w 485775"/>
              <a:gd name="connsiteY12" fmla="*/ 454819 h 457200"/>
              <a:gd name="connsiteX13" fmla="*/ 388144 w 485775"/>
              <a:gd name="connsiteY13" fmla="*/ 454819 h 457200"/>
              <a:gd name="connsiteX14" fmla="*/ 64294 w 485775"/>
              <a:gd name="connsiteY14" fmla="*/ 121444 h 457200"/>
              <a:gd name="connsiteX15" fmla="*/ 7144 w 485775"/>
              <a:gd name="connsiteY15" fmla="*/ 64294 h 457200"/>
              <a:gd name="connsiteX16" fmla="*/ 64294 w 485775"/>
              <a:gd name="connsiteY16" fmla="*/ 7144 h 457200"/>
              <a:gd name="connsiteX17" fmla="*/ 121444 w 485775"/>
              <a:gd name="connsiteY17" fmla="*/ 64294 h 457200"/>
              <a:gd name="connsiteX18" fmla="*/ 64294 w 485775"/>
              <a:gd name="connsiteY18" fmla="*/ 121444 h 457200"/>
              <a:gd name="connsiteX19" fmla="*/ 111919 w 485775"/>
              <a:gd name="connsiteY19" fmla="*/ 454819 h 457200"/>
              <a:gd name="connsiteX20" fmla="*/ 16669 w 485775"/>
              <a:gd name="connsiteY20" fmla="*/ 454819 h 457200"/>
              <a:gd name="connsiteX21" fmla="*/ 16669 w 485775"/>
              <a:gd name="connsiteY21" fmla="*/ 159544 h 457200"/>
              <a:gd name="connsiteX22" fmla="*/ 111919 w 485775"/>
              <a:gd name="connsiteY22" fmla="*/ 159544 h 457200"/>
              <a:gd name="connsiteX23" fmla="*/ 111919 w 485775"/>
              <a:gd name="connsiteY23" fmla="*/ 454819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85775" h="457200">
                <a:moveTo>
                  <a:pt x="388144" y="454819"/>
                </a:moveTo>
                <a:lnTo>
                  <a:pt x="388144" y="268129"/>
                </a:lnTo>
                <a:cubicBezTo>
                  <a:pt x="388144" y="268129"/>
                  <a:pt x="377666" y="229076"/>
                  <a:pt x="340519" y="230981"/>
                </a:cubicBezTo>
                <a:cubicBezTo>
                  <a:pt x="303371" y="232886"/>
                  <a:pt x="290989" y="238601"/>
                  <a:pt x="273844" y="258604"/>
                </a:cubicBezTo>
                <a:lnTo>
                  <a:pt x="273844" y="454819"/>
                </a:lnTo>
                <a:lnTo>
                  <a:pt x="178594" y="454819"/>
                </a:lnTo>
                <a:lnTo>
                  <a:pt x="178594" y="159544"/>
                </a:lnTo>
                <a:lnTo>
                  <a:pt x="273844" y="159544"/>
                </a:lnTo>
                <a:lnTo>
                  <a:pt x="273844" y="203359"/>
                </a:lnTo>
                <a:cubicBezTo>
                  <a:pt x="273844" y="203359"/>
                  <a:pt x="305276" y="142399"/>
                  <a:pt x="369094" y="147161"/>
                </a:cubicBezTo>
                <a:cubicBezTo>
                  <a:pt x="428149" y="150971"/>
                  <a:pt x="471964" y="187166"/>
                  <a:pt x="481489" y="264319"/>
                </a:cubicBezTo>
                <a:lnTo>
                  <a:pt x="483394" y="264319"/>
                </a:lnTo>
                <a:lnTo>
                  <a:pt x="483394" y="454819"/>
                </a:lnTo>
                <a:lnTo>
                  <a:pt x="388144" y="454819"/>
                </a:lnTo>
                <a:close/>
                <a:moveTo>
                  <a:pt x="64294" y="121444"/>
                </a:moveTo>
                <a:cubicBezTo>
                  <a:pt x="32861" y="121444"/>
                  <a:pt x="7144" y="95726"/>
                  <a:pt x="7144" y="64294"/>
                </a:cubicBezTo>
                <a:cubicBezTo>
                  <a:pt x="7144" y="32861"/>
                  <a:pt x="32861" y="7144"/>
                  <a:pt x="64294" y="7144"/>
                </a:cubicBezTo>
                <a:cubicBezTo>
                  <a:pt x="95726" y="7144"/>
                  <a:pt x="121444" y="32861"/>
                  <a:pt x="121444" y="64294"/>
                </a:cubicBezTo>
                <a:cubicBezTo>
                  <a:pt x="121444" y="95726"/>
                  <a:pt x="95726" y="121444"/>
                  <a:pt x="64294" y="121444"/>
                </a:cubicBezTo>
                <a:close/>
                <a:moveTo>
                  <a:pt x="111919" y="454819"/>
                </a:moveTo>
                <a:lnTo>
                  <a:pt x="16669" y="454819"/>
                </a:lnTo>
                <a:lnTo>
                  <a:pt x="16669" y="159544"/>
                </a:lnTo>
                <a:lnTo>
                  <a:pt x="111919" y="159544"/>
                </a:lnTo>
                <a:lnTo>
                  <a:pt x="111919" y="45481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4800"/>
          </a:p>
        </p:txBody>
      </p:sp>
    </p:spTree>
    <p:extLst>
      <p:ext uri="{BB962C8B-B14F-4D97-AF65-F5344CB8AC3E}">
        <p14:creationId xmlns:p14="http://schemas.microsoft.com/office/powerpoint/2010/main" val="3567988305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indedia met soci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4">
            <a:extLst>
              <a:ext uri="{FF2B5EF4-FFF2-40B4-BE49-F238E27FC236}">
                <a16:creationId xmlns:a16="http://schemas.microsoft.com/office/drawing/2014/main" id="{59C95FE6-D8BF-4725-ACC6-FB8975F31B9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61463" y="224444"/>
            <a:ext cx="6532926" cy="6459385"/>
          </a:xfrm>
          <a:prstGeom prst="round2DiagRect">
            <a:avLst>
              <a:gd name="adj1" fmla="val 44527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1C4B4FD0-60E8-42A7-BBF1-AFDA0A7CE8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88750" y="6852424"/>
            <a:ext cx="405638" cy="271869"/>
          </a:xfrm>
        </p:spPr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Pand Noord…">
            <a:extLst>
              <a:ext uri="{FF2B5EF4-FFF2-40B4-BE49-F238E27FC236}">
                <a16:creationId xmlns:a16="http://schemas.microsoft.com/office/drawing/2014/main" id="{1C503A6F-85C2-4B44-A293-B9FE153D7193}"/>
              </a:ext>
            </a:extLst>
          </p:cNvPr>
          <p:cNvSpPr txBox="1"/>
          <p:nvPr userDrawn="1"/>
        </p:nvSpPr>
        <p:spPr>
          <a:xfrm>
            <a:off x="239374" y="5924582"/>
            <a:ext cx="1504836" cy="743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 err="1">
                <a:solidFill>
                  <a:schemeClr val="bg1"/>
                </a:solidFill>
              </a:rPr>
              <a:t>Pand</a:t>
            </a:r>
            <a:r>
              <a:rPr sz="1500">
                <a:solidFill>
                  <a:schemeClr val="bg1"/>
                </a:solidFill>
              </a:rPr>
              <a:t> Noord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 err="1">
                <a:solidFill>
                  <a:schemeClr val="bg1"/>
                </a:solidFill>
              </a:rPr>
              <a:t>Meeuwenlaan</a:t>
            </a:r>
            <a:r>
              <a:rPr sz="1500">
                <a:solidFill>
                  <a:schemeClr val="bg1"/>
                </a:solidFill>
              </a:rPr>
              <a:t> 100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>
                <a:solidFill>
                  <a:schemeClr val="bg1"/>
                </a:solidFill>
              </a:rPr>
              <a:t>1021 JL Amsterdam</a:t>
            </a:r>
          </a:p>
        </p:txBody>
      </p:sp>
      <p:sp>
        <p:nvSpPr>
          <p:cNvPr id="11" name="+31 (0) 20 447 39 25…">
            <a:extLst>
              <a:ext uri="{FF2B5EF4-FFF2-40B4-BE49-F238E27FC236}">
                <a16:creationId xmlns:a16="http://schemas.microsoft.com/office/drawing/2014/main" id="{CB01E701-D776-49C1-AD9D-8F05749A2957}"/>
              </a:ext>
            </a:extLst>
          </p:cNvPr>
          <p:cNvSpPr txBox="1"/>
          <p:nvPr userDrawn="1"/>
        </p:nvSpPr>
        <p:spPr>
          <a:xfrm>
            <a:off x="2011539" y="5924582"/>
            <a:ext cx="1698094" cy="7437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25400" tIns="25400" rIns="25400" bIns="25400" anchor="ctr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>
                <a:solidFill>
                  <a:schemeClr val="bg1"/>
                </a:solidFill>
              </a:rPr>
              <a:t>+31 (0) 20 447 39 25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>
                <a:solidFill>
                  <a:schemeClr val="bg1"/>
                </a:solidFill>
              </a:rPr>
              <a:t>info@squarewise.com</a:t>
            </a:r>
          </a:p>
          <a:p>
            <a:pPr>
              <a:lnSpc>
                <a:spcPct val="100000"/>
              </a:lnSpc>
              <a:spcBef>
                <a:spcPts val="0"/>
              </a:spcBef>
              <a:defRPr sz="3000" spc="-59">
                <a:latin typeface="Source Sans Pro Regular"/>
                <a:ea typeface="Source Sans Pro Regular"/>
                <a:cs typeface="Source Sans Pro Regular"/>
                <a:sym typeface="Source Sans Pro Regular"/>
              </a:defRPr>
            </a:pPr>
            <a:r>
              <a:rPr sz="1500">
                <a:solidFill>
                  <a:schemeClr val="bg1"/>
                </a:solidFill>
              </a:rPr>
              <a:t>squarewise.com</a:t>
            </a:r>
          </a:p>
        </p:txBody>
      </p:sp>
      <p:sp>
        <p:nvSpPr>
          <p:cNvPr id="13" name="Tijdelijke aanduiding voor datum 4">
            <a:extLst>
              <a:ext uri="{FF2B5EF4-FFF2-40B4-BE49-F238E27FC236}">
                <a16:creationId xmlns:a16="http://schemas.microsoft.com/office/drawing/2014/main" id="{FB78E81C-0E0D-42C6-94AB-735DF66E9C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/>
          </a:p>
        </p:txBody>
      </p:sp>
      <p:sp>
        <p:nvSpPr>
          <p:cNvPr id="14" name="Tijdelijke aanduiding voor voettekst 4">
            <a:extLst>
              <a:ext uri="{FF2B5EF4-FFF2-40B4-BE49-F238E27FC236}">
                <a16:creationId xmlns:a16="http://schemas.microsoft.com/office/drawing/2014/main" id="{27347367-9FB0-4D0C-8447-0E9362348D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/>
              <a:t>Voettekst</a:t>
            </a:r>
          </a:p>
        </p:txBody>
      </p:sp>
      <p:sp>
        <p:nvSpPr>
          <p:cNvPr id="9" name="Forme libre : forme 3">
            <a:hlinkClick r:id="rId2"/>
            <a:extLst>
              <a:ext uri="{FF2B5EF4-FFF2-40B4-BE49-F238E27FC236}">
                <a16:creationId xmlns:a16="http://schemas.microsoft.com/office/drawing/2014/main" id="{F93A93A9-20F0-491E-95F6-F1280C48C6E7}"/>
              </a:ext>
            </a:extLst>
          </p:cNvPr>
          <p:cNvSpPr/>
          <p:nvPr userDrawn="1"/>
        </p:nvSpPr>
        <p:spPr>
          <a:xfrm>
            <a:off x="254010" y="5219281"/>
            <a:ext cx="213577" cy="435694"/>
          </a:xfrm>
          <a:custGeom>
            <a:avLst/>
            <a:gdLst>
              <a:gd name="connsiteX0" fmla="*/ 159544 w 238125"/>
              <a:gd name="connsiteY0" fmla="*/ 111919 h 485775"/>
              <a:gd name="connsiteX1" fmla="*/ 159544 w 238125"/>
              <a:gd name="connsiteY1" fmla="*/ 159544 h 485775"/>
              <a:gd name="connsiteX2" fmla="*/ 235744 w 238125"/>
              <a:gd name="connsiteY2" fmla="*/ 159544 h 485775"/>
              <a:gd name="connsiteX3" fmla="*/ 226219 w 238125"/>
              <a:gd name="connsiteY3" fmla="*/ 245269 h 485775"/>
              <a:gd name="connsiteX4" fmla="*/ 159544 w 238125"/>
              <a:gd name="connsiteY4" fmla="*/ 245269 h 485775"/>
              <a:gd name="connsiteX5" fmla="*/ 159544 w 238125"/>
              <a:gd name="connsiteY5" fmla="*/ 483394 h 485775"/>
              <a:gd name="connsiteX6" fmla="*/ 54769 w 238125"/>
              <a:gd name="connsiteY6" fmla="*/ 483394 h 485775"/>
              <a:gd name="connsiteX7" fmla="*/ 54769 w 238125"/>
              <a:gd name="connsiteY7" fmla="*/ 245269 h 485775"/>
              <a:gd name="connsiteX8" fmla="*/ 7144 w 238125"/>
              <a:gd name="connsiteY8" fmla="*/ 245269 h 485775"/>
              <a:gd name="connsiteX9" fmla="*/ 7144 w 238125"/>
              <a:gd name="connsiteY9" fmla="*/ 159544 h 485775"/>
              <a:gd name="connsiteX10" fmla="*/ 54769 w 238125"/>
              <a:gd name="connsiteY10" fmla="*/ 159544 h 485775"/>
              <a:gd name="connsiteX11" fmla="*/ 54769 w 238125"/>
              <a:gd name="connsiteY11" fmla="*/ 111919 h 485775"/>
              <a:gd name="connsiteX12" fmla="*/ 130969 w 238125"/>
              <a:gd name="connsiteY12" fmla="*/ 7144 h 485775"/>
              <a:gd name="connsiteX13" fmla="*/ 235744 w 238125"/>
              <a:gd name="connsiteY13" fmla="*/ 7144 h 485775"/>
              <a:gd name="connsiteX14" fmla="*/ 235744 w 238125"/>
              <a:gd name="connsiteY14" fmla="*/ 83344 h 485775"/>
              <a:gd name="connsiteX15" fmla="*/ 188119 w 238125"/>
              <a:gd name="connsiteY15" fmla="*/ 83344 h 485775"/>
              <a:gd name="connsiteX16" fmla="*/ 159544 w 238125"/>
              <a:gd name="connsiteY16" fmla="*/ 111919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38125" h="485775">
                <a:moveTo>
                  <a:pt x="159544" y="111919"/>
                </a:moveTo>
                <a:lnTo>
                  <a:pt x="159544" y="159544"/>
                </a:lnTo>
                <a:lnTo>
                  <a:pt x="235744" y="159544"/>
                </a:lnTo>
                <a:lnTo>
                  <a:pt x="226219" y="245269"/>
                </a:lnTo>
                <a:lnTo>
                  <a:pt x="159544" y="245269"/>
                </a:lnTo>
                <a:lnTo>
                  <a:pt x="159544" y="483394"/>
                </a:lnTo>
                <a:lnTo>
                  <a:pt x="54769" y="483394"/>
                </a:lnTo>
                <a:lnTo>
                  <a:pt x="54769" y="245269"/>
                </a:lnTo>
                <a:lnTo>
                  <a:pt x="7144" y="245269"/>
                </a:lnTo>
                <a:lnTo>
                  <a:pt x="7144" y="159544"/>
                </a:lnTo>
                <a:lnTo>
                  <a:pt x="54769" y="159544"/>
                </a:lnTo>
                <a:lnTo>
                  <a:pt x="54769" y="111919"/>
                </a:lnTo>
                <a:cubicBezTo>
                  <a:pt x="54769" y="111919"/>
                  <a:pt x="46196" y="21431"/>
                  <a:pt x="130969" y="7144"/>
                </a:cubicBezTo>
                <a:lnTo>
                  <a:pt x="235744" y="7144"/>
                </a:lnTo>
                <a:lnTo>
                  <a:pt x="235744" y="83344"/>
                </a:lnTo>
                <a:lnTo>
                  <a:pt x="188119" y="83344"/>
                </a:lnTo>
                <a:cubicBezTo>
                  <a:pt x="188119" y="83344"/>
                  <a:pt x="161449" y="82391"/>
                  <a:pt x="159544" y="1119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4800"/>
          </a:p>
        </p:txBody>
      </p:sp>
      <p:sp>
        <p:nvSpPr>
          <p:cNvPr id="15" name="Forme libre : forme 4">
            <a:hlinkClick r:id="rId3"/>
            <a:extLst>
              <a:ext uri="{FF2B5EF4-FFF2-40B4-BE49-F238E27FC236}">
                <a16:creationId xmlns:a16="http://schemas.microsoft.com/office/drawing/2014/main" id="{8FAA4836-3521-45EA-B408-13F34D08DF18}"/>
              </a:ext>
            </a:extLst>
          </p:cNvPr>
          <p:cNvSpPr/>
          <p:nvPr userDrawn="1"/>
        </p:nvSpPr>
        <p:spPr>
          <a:xfrm>
            <a:off x="2031104" y="5296169"/>
            <a:ext cx="435694" cy="358806"/>
          </a:xfrm>
          <a:custGeom>
            <a:avLst/>
            <a:gdLst>
              <a:gd name="connsiteX0" fmla="*/ 435769 w 485775"/>
              <a:gd name="connsiteY0" fmla="*/ 73819 h 400050"/>
              <a:gd name="connsiteX1" fmla="*/ 483394 w 485775"/>
              <a:gd name="connsiteY1" fmla="*/ 64294 h 400050"/>
              <a:gd name="connsiteX2" fmla="*/ 435769 w 485775"/>
              <a:gd name="connsiteY2" fmla="*/ 111919 h 400050"/>
              <a:gd name="connsiteX3" fmla="*/ 435769 w 485775"/>
              <a:gd name="connsiteY3" fmla="*/ 111919 h 400050"/>
              <a:gd name="connsiteX4" fmla="*/ 435769 w 485775"/>
              <a:gd name="connsiteY4" fmla="*/ 140494 h 400050"/>
              <a:gd name="connsiteX5" fmla="*/ 7144 w 485775"/>
              <a:gd name="connsiteY5" fmla="*/ 359569 h 400050"/>
              <a:gd name="connsiteX6" fmla="*/ 140494 w 485775"/>
              <a:gd name="connsiteY6" fmla="*/ 311944 h 400050"/>
              <a:gd name="connsiteX7" fmla="*/ 54769 w 485775"/>
              <a:gd name="connsiteY7" fmla="*/ 254794 h 400050"/>
              <a:gd name="connsiteX8" fmla="*/ 92869 w 485775"/>
              <a:gd name="connsiteY8" fmla="*/ 245269 h 400050"/>
              <a:gd name="connsiteX9" fmla="*/ 26194 w 485775"/>
              <a:gd name="connsiteY9" fmla="*/ 150019 h 400050"/>
              <a:gd name="connsiteX10" fmla="*/ 72866 w 485775"/>
              <a:gd name="connsiteY10" fmla="*/ 168116 h 400050"/>
              <a:gd name="connsiteX11" fmla="*/ 35719 w 485775"/>
              <a:gd name="connsiteY11" fmla="*/ 26194 h 400050"/>
              <a:gd name="connsiteX12" fmla="*/ 229076 w 485775"/>
              <a:gd name="connsiteY12" fmla="*/ 130016 h 400050"/>
              <a:gd name="connsiteX13" fmla="*/ 238601 w 485775"/>
              <a:gd name="connsiteY13" fmla="*/ 128111 h 400050"/>
              <a:gd name="connsiteX14" fmla="*/ 236696 w 485775"/>
              <a:gd name="connsiteY14" fmla="*/ 107156 h 400050"/>
              <a:gd name="connsiteX15" fmla="*/ 336709 w 485775"/>
              <a:gd name="connsiteY15" fmla="*/ 7144 h 400050"/>
              <a:gd name="connsiteX16" fmla="*/ 417671 w 485775"/>
              <a:gd name="connsiteY16" fmla="*/ 45244 h 400050"/>
              <a:gd name="connsiteX17" fmla="*/ 465296 w 485775"/>
              <a:gd name="connsiteY17" fmla="*/ 16669 h 400050"/>
              <a:gd name="connsiteX18" fmla="*/ 435769 w 485775"/>
              <a:gd name="connsiteY18" fmla="*/ 73819 h 400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85775" h="400050">
                <a:moveTo>
                  <a:pt x="435769" y="73819"/>
                </a:moveTo>
                <a:lnTo>
                  <a:pt x="483394" y="64294"/>
                </a:lnTo>
                <a:cubicBezTo>
                  <a:pt x="483394" y="64294"/>
                  <a:pt x="443389" y="109061"/>
                  <a:pt x="435769" y="111919"/>
                </a:cubicBezTo>
                <a:lnTo>
                  <a:pt x="435769" y="111919"/>
                </a:lnTo>
                <a:cubicBezTo>
                  <a:pt x="434816" y="133826"/>
                  <a:pt x="435769" y="140494"/>
                  <a:pt x="435769" y="140494"/>
                </a:cubicBezTo>
                <a:cubicBezTo>
                  <a:pt x="344329" y="532924"/>
                  <a:pt x="7144" y="359569"/>
                  <a:pt x="7144" y="359569"/>
                </a:cubicBezTo>
                <a:cubicBezTo>
                  <a:pt x="130016" y="362426"/>
                  <a:pt x="140494" y="311944"/>
                  <a:pt x="140494" y="311944"/>
                </a:cubicBezTo>
                <a:cubicBezTo>
                  <a:pt x="69056" y="301466"/>
                  <a:pt x="54769" y="254794"/>
                  <a:pt x="54769" y="254794"/>
                </a:cubicBezTo>
                <a:cubicBezTo>
                  <a:pt x="79534" y="266224"/>
                  <a:pt x="92869" y="245269"/>
                  <a:pt x="92869" y="245269"/>
                </a:cubicBezTo>
                <a:cubicBezTo>
                  <a:pt x="15716" y="225266"/>
                  <a:pt x="26194" y="150019"/>
                  <a:pt x="26194" y="150019"/>
                </a:cubicBezTo>
                <a:cubicBezTo>
                  <a:pt x="39529" y="161449"/>
                  <a:pt x="60484" y="166211"/>
                  <a:pt x="72866" y="168116"/>
                </a:cubicBezTo>
                <a:cubicBezTo>
                  <a:pt x="64294" y="157639"/>
                  <a:pt x="-8096" y="70961"/>
                  <a:pt x="35719" y="26194"/>
                </a:cubicBezTo>
                <a:cubicBezTo>
                  <a:pt x="35719" y="26194"/>
                  <a:pt x="89059" y="121444"/>
                  <a:pt x="229076" y="130016"/>
                </a:cubicBezTo>
                <a:lnTo>
                  <a:pt x="238601" y="128111"/>
                </a:lnTo>
                <a:cubicBezTo>
                  <a:pt x="236696" y="121444"/>
                  <a:pt x="236696" y="114776"/>
                  <a:pt x="236696" y="107156"/>
                </a:cubicBezTo>
                <a:cubicBezTo>
                  <a:pt x="236696" y="51911"/>
                  <a:pt x="281464" y="7144"/>
                  <a:pt x="336709" y="7144"/>
                </a:cubicBezTo>
                <a:cubicBezTo>
                  <a:pt x="403384" y="7144"/>
                  <a:pt x="417671" y="45244"/>
                  <a:pt x="417671" y="45244"/>
                </a:cubicBezTo>
                <a:lnTo>
                  <a:pt x="465296" y="16669"/>
                </a:lnTo>
                <a:cubicBezTo>
                  <a:pt x="464344" y="16669"/>
                  <a:pt x="459581" y="64294"/>
                  <a:pt x="435769" y="73819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4800"/>
          </a:p>
        </p:txBody>
      </p:sp>
      <p:sp>
        <p:nvSpPr>
          <p:cNvPr id="16" name="Forme libre : forme 6">
            <a:hlinkClick r:id="rId4"/>
            <a:extLst>
              <a:ext uri="{FF2B5EF4-FFF2-40B4-BE49-F238E27FC236}">
                <a16:creationId xmlns:a16="http://schemas.microsoft.com/office/drawing/2014/main" id="{F47B0E42-6549-458D-A58A-A3E28014EF0E}"/>
              </a:ext>
            </a:extLst>
          </p:cNvPr>
          <p:cNvSpPr/>
          <p:nvPr userDrawn="1"/>
        </p:nvSpPr>
        <p:spPr>
          <a:xfrm>
            <a:off x="1054779" y="5232096"/>
            <a:ext cx="435694" cy="410064"/>
          </a:xfrm>
          <a:custGeom>
            <a:avLst/>
            <a:gdLst>
              <a:gd name="connsiteX0" fmla="*/ 388144 w 485775"/>
              <a:gd name="connsiteY0" fmla="*/ 454819 h 457200"/>
              <a:gd name="connsiteX1" fmla="*/ 388144 w 485775"/>
              <a:gd name="connsiteY1" fmla="*/ 268129 h 457200"/>
              <a:gd name="connsiteX2" fmla="*/ 340519 w 485775"/>
              <a:gd name="connsiteY2" fmla="*/ 230981 h 457200"/>
              <a:gd name="connsiteX3" fmla="*/ 273844 w 485775"/>
              <a:gd name="connsiteY3" fmla="*/ 258604 h 457200"/>
              <a:gd name="connsiteX4" fmla="*/ 273844 w 485775"/>
              <a:gd name="connsiteY4" fmla="*/ 454819 h 457200"/>
              <a:gd name="connsiteX5" fmla="*/ 178594 w 485775"/>
              <a:gd name="connsiteY5" fmla="*/ 454819 h 457200"/>
              <a:gd name="connsiteX6" fmla="*/ 178594 w 485775"/>
              <a:gd name="connsiteY6" fmla="*/ 159544 h 457200"/>
              <a:gd name="connsiteX7" fmla="*/ 273844 w 485775"/>
              <a:gd name="connsiteY7" fmla="*/ 159544 h 457200"/>
              <a:gd name="connsiteX8" fmla="*/ 273844 w 485775"/>
              <a:gd name="connsiteY8" fmla="*/ 203359 h 457200"/>
              <a:gd name="connsiteX9" fmla="*/ 369094 w 485775"/>
              <a:gd name="connsiteY9" fmla="*/ 147161 h 457200"/>
              <a:gd name="connsiteX10" fmla="*/ 481489 w 485775"/>
              <a:gd name="connsiteY10" fmla="*/ 264319 h 457200"/>
              <a:gd name="connsiteX11" fmla="*/ 483394 w 485775"/>
              <a:gd name="connsiteY11" fmla="*/ 264319 h 457200"/>
              <a:gd name="connsiteX12" fmla="*/ 483394 w 485775"/>
              <a:gd name="connsiteY12" fmla="*/ 454819 h 457200"/>
              <a:gd name="connsiteX13" fmla="*/ 388144 w 485775"/>
              <a:gd name="connsiteY13" fmla="*/ 454819 h 457200"/>
              <a:gd name="connsiteX14" fmla="*/ 64294 w 485775"/>
              <a:gd name="connsiteY14" fmla="*/ 121444 h 457200"/>
              <a:gd name="connsiteX15" fmla="*/ 7144 w 485775"/>
              <a:gd name="connsiteY15" fmla="*/ 64294 h 457200"/>
              <a:gd name="connsiteX16" fmla="*/ 64294 w 485775"/>
              <a:gd name="connsiteY16" fmla="*/ 7144 h 457200"/>
              <a:gd name="connsiteX17" fmla="*/ 121444 w 485775"/>
              <a:gd name="connsiteY17" fmla="*/ 64294 h 457200"/>
              <a:gd name="connsiteX18" fmla="*/ 64294 w 485775"/>
              <a:gd name="connsiteY18" fmla="*/ 121444 h 457200"/>
              <a:gd name="connsiteX19" fmla="*/ 111919 w 485775"/>
              <a:gd name="connsiteY19" fmla="*/ 454819 h 457200"/>
              <a:gd name="connsiteX20" fmla="*/ 16669 w 485775"/>
              <a:gd name="connsiteY20" fmla="*/ 454819 h 457200"/>
              <a:gd name="connsiteX21" fmla="*/ 16669 w 485775"/>
              <a:gd name="connsiteY21" fmla="*/ 159544 h 457200"/>
              <a:gd name="connsiteX22" fmla="*/ 111919 w 485775"/>
              <a:gd name="connsiteY22" fmla="*/ 159544 h 457200"/>
              <a:gd name="connsiteX23" fmla="*/ 111919 w 485775"/>
              <a:gd name="connsiteY23" fmla="*/ 454819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485775" h="457200">
                <a:moveTo>
                  <a:pt x="388144" y="454819"/>
                </a:moveTo>
                <a:lnTo>
                  <a:pt x="388144" y="268129"/>
                </a:lnTo>
                <a:cubicBezTo>
                  <a:pt x="388144" y="268129"/>
                  <a:pt x="377666" y="229076"/>
                  <a:pt x="340519" y="230981"/>
                </a:cubicBezTo>
                <a:cubicBezTo>
                  <a:pt x="303371" y="232886"/>
                  <a:pt x="290989" y="238601"/>
                  <a:pt x="273844" y="258604"/>
                </a:cubicBezTo>
                <a:lnTo>
                  <a:pt x="273844" y="454819"/>
                </a:lnTo>
                <a:lnTo>
                  <a:pt x="178594" y="454819"/>
                </a:lnTo>
                <a:lnTo>
                  <a:pt x="178594" y="159544"/>
                </a:lnTo>
                <a:lnTo>
                  <a:pt x="273844" y="159544"/>
                </a:lnTo>
                <a:lnTo>
                  <a:pt x="273844" y="203359"/>
                </a:lnTo>
                <a:cubicBezTo>
                  <a:pt x="273844" y="203359"/>
                  <a:pt x="305276" y="142399"/>
                  <a:pt x="369094" y="147161"/>
                </a:cubicBezTo>
                <a:cubicBezTo>
                  <a:pt x="428149" y="150971"/>
                  <a:pt x="471964" y="187166"/>
                  <a:pt x="481489" y="264319"/>
                </a:cubicBezTo>
                <a:lnTo>
                  <a:pt x="483394" y="264319"/>
                </a:lnTo>
                <a:lnTo>
                  <a:pt x="483394" y="454819"/>
                </a:lnTo>
                <a:lnTo>
                  <a:pt x="388144" y="454819"/>
                </a:lnTo>
                <a:close/>
                <a:moveTo>
                  <a:pt x="64294" y="121444"/>
                </a:moveTo>
                <a:cubicBezTo>
                  <a:pt x="32861" y="121444"/>
                  <a:pt x="7144" y="95726"/>
                  <a:pt x="7144" y="64294"/>
                </a:cubicBezTo>
                <a:cubicBezTo>
                  <a:pt x="7144" y="32861"/>
                  <a:pt x="32861" y="7144"/>
                  <a:pt x="64294" y="7144"/>
                </a:cubicBezTo>
                <a:cubicBezTo>
                  <a:pt x="95726" y="7144"/>
                  <a:pt x="121444" y="32861"/>
                  <a:pt x="121444" y="64294"/>
                </a:cubicBezTo>
                <a:cubicBezTo>
                  <a:pt x="121444" y="95726"/>
                  <a:pt x="95726" y="121444"/>
                  <a:pt x="64294" y="121444"/>
                </a:cubicBezTo>
                <a:close/>
                <a:moveTo>
                  <a:pt x="111919" y="454819"/>
                </a:moveTo>
                <a:lnTo>
                  <a:pt x="16669" y="454819"/>
                </a:lnTo>
                <a:lnTo>
                  <a:pt x="16669" y="159544"/>
                </a:lnTo>
                <a:lnTo>
                  <a:pt x="111919" y="159544"/>
                </a:lnTo>
                <a:lnTo>
                  <a:pt x="111919" y="454819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fr-FR" sz="4800"/>
          </a:p>
        </p:txBody>
      </p:sp>
      <p:grpSp>
        <p:nvGrpSpPr>
          <p:cNvPr id="17" name="Groep 16">
            <a:extLst>
              <a:ext uri="{FF2B5EF4-FFF2-40B4-BE49-F238E27FC236}">
                <a16:creationId xmlns:a16="http://schemas.microsoft.com/office/drawing/2014/main" id="{9A419D28-C7EF-4F38-82B6-94CC0B55599C}"/>
              </a:ext>
            </a:extLst>
          </p:cNvPr>
          <p:cNvGrpSpPr/>
          <p:nvPr userDrawn="1"/>
        </p:nvGrpSpPr>
        <p:grpSpPr>
          <a:xfrm>
            <a:off x="183505" y="206685"/>
            <a:ext cx="1082848" cy="1082848"/>
            <a:chOff x="367010" y="413369"/>
            <a:chExt cx="2165696" cy="2165696"/>
          </a:xfrm>
        </p:grpSpPr>
        <p:sp>
          <p:nvSpPr>
            <p:cNvPr id="18" name="Graphic 13">
              <a:extLst>
                <a:ext uri="{FF2B5EF4-FFF2-40B4-BE49-F238E27FC236}">
                  <a16:creationId xmlns:a16="http://schemas.microsoft.com/office/drawing/2014/main" id="{4B7F1482-E379-4446-B972-AC07F9165044}"/>
                </a:ext>
              </a:extLst>
            </p:cNvPr>
            <p:cNvSpPr/>
            <p:nvPr/>
          </p:nvSpPr>
          <p:spPr>
            <a:xfrm>
              <a:off x="367010" y="413369"/>
              <a:ext cx="2165696" cy="2165696"/>
            </a:xfrm>
            <a:custGeom>
              <a:avLst/>
              <a:gdLst>
                <a:gd name="connsiteX0" fmla="*/ 1200912 w 2165696"/>
                <a:gd name="connsiteY0" fmla="*/ 2165697 h 2165696"/>
                <a:gd name="connsiteX1" fmla="*/ 0 w 2165696"/>
                <a:gd name="connsiteY1" fmla="*/ 2165697 h 2165696"/>
                <a:gd name="connsiteX2" fmla="*/ 0 w 2165696"/>
                <a:gd name="connsiteY2" fmla="*/ 964784 h 2165696"/>
                <a:gd name="connsiteX3" fmla="*/ 964784 w 2165696"/>
                <a:gd name="connsiteY3" fmla="*/ 0 h 2165696"/>
                <a:gd name="connsiteX4" fmla="*/ 2165697 w 2165696"/>
                <a:gd name="connsiteY4" fmla="*/ 0 h 2165696"/>
                <a:gd name="connsiteX5" fmla="*/ 2165697 w 2165696"/>
                <a:gd name="connsiteY5" fmla="*/ 1200912 h 2165696"/>
                <a:gd name="connsiteX6" fmla="*/ 1200912 w 2165696"/>
                <a:gd name="connsiteY6" fmla="*/ 2165697 h 216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696" h="2165696">
                  <a:moveTo>
                    <a:pt x="1200912" y="2165697"/>
                  </a:moveTo>
                  <a:lnTo>
                    <a:pt x="0" y="2165697"/>
                  </a:lnTo>
                  <a:lnTo>
                    <a:pt x="0" y="964784"/>
                  </a:lnTo>
                  <a:cubicBezTo>
                    <a:pt x="0" y="431936"/>
                    <a:pt x="431936" y="0"/>
                    <a:pt x="964784" y="0"/>
                  </a:cubicBezTo>
                  <a:lnTo>
                    <a:pt x="2165697" y="0"/>
                  </a:lnTo>
                  <a:lnTo>
                    <a:pt x="2165697" y="1200912"/>
                  </a:lnTo>
                  <a:cubicBezTo>
                    <a:pt x="2165697" y="1733760"/>
                    <a:pt x="1733760" y="2165697"/>
                    <a:pt x="1200912" y="2165697"/>
                  </a:cubicBezTo>
                </a:path>
              </a:pathLst>
            </a:custGeom>
            <a:solidFill>
              <a:schemeClr val="bg1"/>
            </a:solidFill>
            <a:ln w="22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900"/>
            </a:p>
          </p:txBody>
        </p:sp>
        <p:grpSp>
          <p:nvGrpSpPr>
            <p:cNvPr id="19" name="Graphic 13">
              <a:extLst>
                <a:ext uri="{FF2B5EF4-FFF2-40B4-BE49-F238E27FC236}">
                  <a16:creationId xmlns:a16="http://schemas.microsoft.com/office/drawing/2014/main" id="{0493BCFC-8A4A-468B-85CD-B0BB6DA64F22}"/>
                </a:ext>
              </a:extLst>
            </p:cNvPr>
            <p:cNvGrpSpPr/>
            <p:nvPr/>
          </p:nvGrpSpPr>
          <p:grpSpPr>
            <a:xfrm>
              <a:off x="610655" y="1130302"/>
              <a:ext cx="1628994" cy="740997"/>
              <a:chOff x="610655" y="1130302"/>
              <a:chExt cx="1628994" cy="740997"/>
            </a:xfrm>
            <a:solidFill>
              <a:schemeClr val="tx1"/>
            </a:solidFill>
          </p:grpSpPr>
          <p:sp>
            <p:nvSpPr>
              <p:cNvPr id="20" name="Graphic 13">
                <a:extLst>
                  <a:ext uri="{FF2B5EF4-FFF2-40B4-BE49-F238E27FC236}">
                    <a16:creationId xmlns:a16="http://schemas.microsoft.com/office/drawing/2014/main" id="{EC1F4CEB-644E-45A6-9D98-F1C2E26C2002}"/>
                  </a:ext>
                </a:extLst>
              </p:cNvPr>
              <p:cNvSpPr/>
              <p:nvPr/>
            </p:nvSpPr>
            <p:spPr>
              <a:xfrm>
                <a:off x="1171083" y="1566053"/>
                <a:ext cx="397284" cy="305246"/>
              </a:xfrm>
              <a:custGeom>
                <a:avLst/>
                <a:gdLst>
                  <a:gd name="connsiteX0" fmla="*/ 397284 w 397284"/>
                  <a:gd name="connsiteY0" fmla="*/ 109933 h 305246"/>
                  <a:gd name="connsiteX1" fmla="*/ 397284 w 397284"/>
                  <a:gd name="connsiteY1" fmla="*/ 192801 h 305246"/>
                  <a:gd name="connsiteX2" fmla="*/ 291695 w 397284"/>
                  <a:gd name="connsiteY2" fmla="*/ 304850 h 305246"/>
                  <a:gd name="connsiteX3" fmla="*/ 204595 w 397284"/>
                  <a:gd name="connsiteY3" fmla="*/ 275446 h 305246"/>
                  <a:gd name="connsiteX4" fmla="*/ 191898 w 397284"/>
                  <a:gd name="connsiteY4" fmla="*/ 275669 h 305246"/>
                  <a:gd name="connsiteX5" fmla="*/ 143781 w 397284"/>
                  <a:gd name="connsiteY5" fmla="*/ 301509 h 305246"/>
                  <a:gd name="connsiteX6" fmla="*/ 15024 w 397284"/>
                  <a:gd name="connsiteY6" fmla="*/ 251610 h 305246"/>
                  <a:gd name="connsiteX7" fmla="*/ 99 w 397284"/>
                  <a:gd name="connsiteY7" fmla="*/ 195474 h 305246"/>
                  <a:gd name="connsiteX8" fmla="*/ 99 w 397284"/>
                  <a:gd name="connsiteY8" fmla="*/ 21942 h 305246"/>
                  <a:gd name="connsiteX9" fmla="*/ 21261 w 397284"/>
                  <a:gd name="connsiteY9" fmla="*/ 780 h 305246"/>
                  <a:gd name="connsiteX10" fmla="*/ 40196 w 397284"/>
                  <a:gd name="connsiteY10" fmla="*/ 780 h 305246"/>
                  <a:gd name="connsiteX11" fmla="*/ 60022 w 397284"/>
                  <a:gd name="connsiteY11" fmla="*/ 20606 h 305246"/>
                  <a:gd name="connsiteX12" fmla="*/ 60022 w 397284"/>
                  <a:gd name="connsiteY12" fmla="*/ 58921 h 305246"/>
                  <a:gd name="connsiteX13" fmla="*/ 60022 w 397284"/>
                  <a:gd name="connsiteY13" fmla="*/ 192801 h 305246"/>
                  <a:gd name="connsiteX14" fmla="*/ 94996 w 397284"/>
                  <a:gd name="connsiteY14" fmla="*/ 245373 h 305246"/>
                  <a:gd name="connsiteX15" fmla="*/ 168953 w 397284"/>
                  <a:gd name="connsiteY15" fmla="*/ 190128 h 305246"/>
                  <a:gd name="connsiteX16" fmla="*/ 168953 w 397284"/>
                  <a:gd name="connsiteY16" fmla="*/ 22165 h 305246"/>
                  <a:gd name="connsiteX17" fmla="*/ 190561 w 397284"/>
                  <a:gd name="connsiteY17" fmla="*/ 557 h 305246"/>
                  <a:gd name="connsiteX18" fmla="*/ 209941 w 397284"/>
                  <a:gd name="connsiteY18" fmla="*/ 557 h 305246"/>
                  <a:gd name="connsiteX19" fmla="*/ 228208 w 397284"/>
                  <a:gd name="connsiteY19" fmla="*/ 18155 h 305246"/>
                  <a:gd name="connsiteX20" fmla="*/ 228431 w 397284"/>
                  <a:gd name="connsiteY20" fmla="*/ 24170 h 305246"/>
                  <a:gd name="connsiteX21" fmla="*/ 228431 w 397284"/>
                  <a:gd name="connsiteY21" fmla="*/ 189905 h 305246"/>
                  <a:gd name="connsiteX22" fmla="*/ 248479 w 397284"/>
                  <a:gd name="connsiteY22" fmla="*/ 237576 h 305246"/>
                  <a:gd name="connsiteX23" fmla="*/ 307288 w 397284"/>
                  <a:gd name="connsiteY23" fmla="*/ 243145 h 305246"/>
                  <a:gd name="connsiteX24" fmla="*/ 337139 w 397284"/>
                  <a:gd name="connsiteY24" fmla="*/ 193692 h 305246"/>
                  <a:gd name="connsiteX25" fmla="*/ 337139 w 397284"/>
                  <a:gd name="connsiteY25" fmla="*/ 23501 h 305246"/>
                  <a:gd name="connsiteX26" fmla="*/ 338698 w 397284"/>
                  <a:gd name="connsiteY26" fmla="*/ 11918 h 305246"/>
                  <a:gd name="connsiteX27" fmla="*/ 354291 w 397284"/>
                  <a:gd name="connsiteY27" fmla="*/ 334 h 305246"/>
                  <a:gd name="connsiteX28" fmla="*/ 380355 w 397284"/>
                  <a:gd name="connsiteY28" fmla="*/ 334 h 305246"/>
                  <a:gd name="connsiteX29" fmla="*/ 397062 w 397284"/>
                  <a:gd name="connsiteY29" fmla="*/ 19492 h 305246"/>
                  <a:gd name="connsiteX30" fmla="*/ 397284 w 397284"/>
                  <a:gd name="connsiteY30" fmla="*/ 109933 h 3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97284" h="305246">
                    <a:moveTo>
                      <a:pt x="397284" y="109933"/>
                    </a:moveTo>
                    <a:lnTo>
                      <a:pt x="397284" y="192801"/>
                    </a:lnTo>
                    <a:cubicBezTo>
                      <a:pt x="397284" y="255397"/>
                      <a:pt x="354291" y="301063"/>
                      <a:pt x="291695" y="304850"/>
                    </a:cubicBezTo>
                    <a:cubicBezTo>
                      <a:pt x="258503" y="306855"/>
                      <a:pt x="229099" y="298613"/>
                      <a:pt x="204595" y="275446"/>
                    </a:cubicBezTo>
                    <a:cubicBezTo>
                      <a:pt x="200140" y="271213"/>
                      <a:pt x="197244" y="271436"/>
                      <a:pt x="191898" y="275669"/>
                    </a:cubicBezTo>
                    <a:cubicBezTo>
                      <a:pt x="177418" y="287252"/>
                      <a:pt x="161825" y="296831"/>
                      <a:pt x="143781" y="301509"/>
                    </a:cubicBezTo>
                    <a:cubicBezTo>
                      <a:pt x="96778" y="313315"/>
                      <a:pt x="40865" y="297277"/>
                      <a:pt x="15024" y="251610"/>
                    </a:cubicBezTo>
                    <a:cubicBezTo>
                      <a:pt x="5223" y="234235"/>
                      <a:pt x="99" y="215300"/>
                      <a:pt x="99" y="195474"/>
                    </a:cubicBezTo>
                    <a:cubicBezTo>
                      <a:pt x="-124" y="137556"/>
                      <a:pt x="99" y="79860"/>
                      <a:pt x="99" y="21942"/>
                    </a:cubicBezTo>
                    <a:cubicBezTo>
                      <a:pt x="99" y="7685"/>
                      <a:pt x="7005" y="1002"/>
                      <a:pt x="21261" y="780"/>
                    </a:cubicBezTo>
                    <a:cubicBezTo>
                      <a:pt x="27499" y="780"/>
                      <a:pt x="33959" y="780"/>
                      <a:pt x="40196" y="780"/>
                    </a:cubicBezTo>
                    <a:cubicBezTo>
                      <a:pt x="52671" y="1002"/>
                      <a:pt x="59799" y="7908"/>
                      <a:pt x="60022" y="20606"/>
                    </a:cubicBezTo>
                    <a:cubicBezTo>
                      <a:pt x="60245" y="33303"/>
                      <a:pt x="60022" y="46223"/>
                      <a:pt x="60022" y="58921"/>
                    </a:cubicBezTo>
                    <a:cubicBezTo>
                      <a:pt x="60022" y="103473"/>
                      <a:pt x="60022" y="148248"/>
                      <a:pt x="60022" y="192801"/>
                    </a:cubicBezTo>
                    <a:cubicBezTo>
                      <a:pt x="60022" y="217973"/>
                      <a:pt x="73165" y="238467"/>
                      <a:pt x="94996" y="245373"/>
                    </a:cubicBezTo>
                    <a:cubicBezTo>
                      <a:pt x="131306" y="257179"/>
                      <a:pt x="168953" y="237131"/>
                      <a:pt x="168953" y="190128"/>
                    </a:cubicBezTo>
                    <a:cubicBezTo>
                      <a:pt x="169176" y="134214"/>
                      <a:pt x="168953" y="78301"/>
                      <a:pt x="168953" y="22165"/>
                    </a:cubicBezTo>
                    <a:cubicBezTo>
                      <a:pt x="168953" y="6794"/>
                      <a:pt x="175190" y="557"/>
                      <a:pt x="190561" y="557"/>
                    </a:cubicBezTo>
                    <a:cubicBezTo>
                      <a:pt x="197021" y="557"/>
                      <a:pt x="203481" y="334"/>
                      <a:pt x="209941" y="557"/>
                    </a:cubicBezTo>
                    <a:cubicBezTo>
                      <a:pt x="220857" y="1002"/>
                      <a:pt x="227317" y="7017"/>
                      <a:pt x="228208" y="18155"/>
                    </a:cubicBezTo>
                    <a:cubicBezTo>
                      <a:pt x="228431" y="20160"/>
                      <a:pt x="228431" y="22165"/>
                      <a:pt x="228431" y="24170"/>
                    </a:cubicBezTo>
                    <a:cubicBezTo>
                      <a:pt x="228431" y="80083"/>
                      <a:pt x="228431" y="133769"/>
                      <a:pt x="228431" y="189905"/>
                    </a:cubicBezTo>
                    <a:cubicBezTo>
                      <a:pt x="228431" y="207949"/>
                      <a:pt x="233331" y="226438"/>
                      <a:pt x="248479" y="237576"/>
                    </a:cubicBezTo>
                    <a:cubicBezTo>
                      <a:pt x="266746" y="251165"/>
                      <a:pt x="287017" y="252278"/>
                      <a:pt x="307288" y="243145"/>
                    </a:cubicBezTo>
                    <a:cubicBezTo>
                      <a:pt x="328005" y="233789"/>
                      <a:pt x="336916" y="215745"/>
                      <a:pt x="337139" y="193692"/>
                    </a:cubicBezTo>
                    <a:cubicBezTo>
                      <a:pt x="337584" y="137110"/>
                      <a:pt x="337361" y="80306"/>
                      <a:pt x="337139" y="23501"/>
                    </a:cubicBezTo>
                    <a:cubicBezTo>
                      <a:pt x="337139" y="19492"/>
                      <a:pt x="337361" y="15705"/>
                      <a:pt x="338698" y="11918"/>
                    </a:cubicBezTo>
                    <a:cubicBezTo>
                      <a:pt x="341148" y="4567"/>
                      <a:pt x="346717" y="780"/>
                      <a:pt x="354291" y="334"/>
                    </a:cubicBezTo>
                    <a:cubicBezTo>
                      <a:pt x="362979" y="-111"/>
                      <a:pt x="371667" y="-111"/>
                      <a:pt x="380355" y="334"/>
                    </a:cubicBezTo>
                    <a:cubicBezTo>
                      <a:pt x="390824" y="1002"/>
                      <a:pt x="397062" y="8354"/>
                      <a:pt x="397062" y="19492"/>
                    </a:cubicBezTo>
                    <a:cubicBezTo>
                      <a:pt x="397284" y="49787"/>
                      <a:pt x="397284" y="79860"/>
                      <a:pt x="397284" y="109933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1" name="Graphic 13">
                <a:extLst>
                  <a:ext uri="{FF2B5EF4-FFF2-40B4-BE49-F238E27FC236}">
                    <a16:creationId xmlns:a16="http://schemas.microsoft.com/office/drawing/2014/main" id="{CC68BD59-6E50-4824-85E1-BE0905ADFECC}"/>
                  </a:ext>
                </a:extLst>
              </p:cNvPr>
              <p:cNvSpPr/>
              <p:nvPr/>
            </p:nvSpPr>
            <p:spPr>
              <a:xfrm>
                <a:off x="859760" y="1137519"/>
                <a:ext cx="244815" cy="449808"/>
              </a:xfrm>
              <a:custGeom>
                <a:avLst/>
                <a:gdLst>
                  <a:gd name="connsiteX0" fmla="*/ 244816 w 244815"/>
                  <a:gd name="connsiteY0" fmla="*/ 225041 h 449808"/>
                  <a:gd name="connsiteX1" fmla="*/ 244816 w 244815"/>
                  <a:gd name="connsiteY1" fmla="*/ 427977 h 449808"/>
                  <a:gd name="connsiteX2" fmla="*/ 223208 w 244815"/>
                  <a:gd name="connsiteY2" fmla="*/ 449808 h 449808"/>
                  <a:gd name="connsiteX3" fmla="*/ 207615 w 244815"/>
                  <a:gd name="connsiteY3" fmla="*/ 449808 h 449808"/>
                  <a:gd name="connsiteX4" fmla="*/ 184893 w 244815"/>
                  <a:gd name="connsiteY4" fmla="*/ 426864 h 449808"/>
                  <a:gd name="connsiteX5" fmla="*/ 184893 w 244815"/>
                  <a:gd name="connsiteY5" fmla="*/ 309691 h 449808"/>
                  <a:gd name="connsiteX6" fmla="*/ 184893 w 244815"/>
                  <a:gd name="connsiteY6" fmla="*/ 306349 h 449808"/>
                  <a:gd name="connsiteX7" fmla="*/ 176428 w 244815"/>
                  <a:gd name="connsiteY7" fmla="*/ 297884 h 449808"/>
                  <a:gd name="connsiteX8" fmla="*/ 110936 w 244815"/>
                  <a:gd name="connsiteY8" fmla="*/ 297884 h 449808"/>
                  <a:gd name="connsiteX9" fmla="*/ 0 w 244815"/>
                  <a:gd name="connsiteY9" fmla="*/ 186948 h 449808"/>
                  <a:gd name="connsiteX10" fmla="*/ 0 w 244815"/>
                  <a:gd name="connsiteY10" fmla="*/ 110318 h 449808"/>
                  <a:gd name="connsiteX11" fmla="*/ 101134 w 244815"/>
                  <a:gd name="connsiteY11" fmla="*/ 942 h 449808"/>
                  <a:gd name="connsiteX12" fmla="*/ 173309 w 244815"/>
                  <a:gd name="connsiteY12" fmla="*/ 273 h 449808"/>
                  <a:gd name="connsiteX13" fmla="*/ 223876 w 244815"/>
                  <a:gd name="connsiteY13" fmla="*/ 273 h 449808"/>
                  <a:gd name="connsiteX14" fmla="*/ 244816 w 244815"/>
                  <a:gd name="connsiteY14" fmla="*/ 20990 h 449808"/>
                  <a:gd name="connsiteX15" fmla="*/ 244816 w 244815"/>
                  <a:gd name="connsiteY15" fmla="*/ 225041 h 449808"/>
                  <a:gd name="connsiteX16" fmla="*/ 184893 w 244815"/>
                  <a:gd name="connsiteY16" fmla="*/ 148856 h 449808"/>
                  <a:gd name="connsiteX17" fmla="*/ 184893 w 244815"/>
                  <a:gd name="connsiteY17" fmla="*/ 64429 h 449808"/>
                  <a:gd name="connsiteX18" fmla="*/ 177764 w 244815"/>
                  <a:gd name="connsiteY18" fmla="*/ 56410 h 449808"/>
                  <a:gd name="connsiteX19" fmla="*/ 111604 w 244815"/>
                  <a:gd name="connsiteY19" fmla="*/ 56410 h 449808"/>
                  <a:gd name="connsiteX20" fmla="*/ 59923 w 244815"/>
                  <a:gd name="connsiteY20" fmla="*/ 105640 h 449808"/>
                  <a:gd name="connsiteX21" fmla="*/ 59700 w 244815"/>
                  <a:gd name="connsiteY21" fmla="*/ 188285 h 449808"/>
                  <a:gd name="connsiteX22" fmla="*/ 116728 w 244815"/>
                  <a:gd name="connsiteY22" fmla="*/ 240857 h 449808"/>
                  <a:gd name="connsiteX23" fmla="*/ 174423 w 244815"/>
                  <a:gd name="connsiteY23" fmla="*/ 240857 h 449808"/>
                  <a:gd name="connsiteX24" fmla="*/ 184670 w 244815"/>
                  <a:gd name="connsiteY24" fmla="*/ 230833 h 449808"/>
                  <a:gd name="connsiteX25" fmla="*/ 184670 w 244815"/>
                  <a:gd name="connsiteY25" fmla="*/ 148856 h 449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44815" h="449808">
                    <a:moveTo>
                      <a:pt x="244816" y="225041"/>
                    </a:moveTo>
                    <a:lnTo>
                      <a:pt x="244816" y="427977"/>
                    </a:lnTo>
                    <a:cubicBezTo>
                      <a:pt x="244816" y="443125"/>
                      <a:pt x="238356" y="449585"/>
                      <a:pt x="223208" y="449808"/>
                    </a:cubicBezTo>
                    <a:cubicBezTo>
                      <a:pt x="218084" y="449808"/>
                      <a:pt x="212738" y="449808"/>
                      <a:pt x="207615" y="449808"/>
                    </a:cubicBezTo>
                    <a:cubicBezTo>
                      <a:pt x="191130" y="449808"/>
                      <a:pt x="184893" y="443348"/>
                      <a:pt x="184893" y="426864"/>
                    </a:cubicBezTo>
                    <a:cubicBezTo>
                      <a:pt x="184893" y="387880"/>
                      <a:pt x="184893" y="348674"/>
                      <a:pt x="184893" y="309691"/>
                    </a:cubicBezTo>
                    <a:cubicBezTo>
                      <a:pt x="184893" y="308577"/>
                      <a:pt x="184893" y="307463"/>
                      <a:pt x="184893" y="306349"/>
                    </a:cubicBezTo>
                    <a:cubicBezTo>
                      <a:pt x="184893" y="299221"/>
                      <a:pt x="183556" y="297884"/>
                      <a:pt x="176428" y="297884"/>
                    </a:cubicBezTo>
                    <a:cubicBezTo>
                      <a:pt x="154597" y="297884"/>
                      <a:pt x="132766" y="297884"/>
                      <a:pt x="110936" y="297884"/>
                    </a:cubicBezTo>
                    <a:cubicBezTo>
                      <a:pt x="48562" y="297884"/>
                      <a:pt x="0" y="249322"/>
                      <a:pt x="0" y="186948"/>
                    </a:cubicBezTo>
                    <a:cubicBezTo>
                      <a:pt x="0" y="161331"/>
                      <a:pt x="0" y="135713"/>
                      <a:pt x="0" y="110318"/>
                    </a:cubicBezTo>
                    <a:cubicBezTo>
                      <a:pt x="0" y="51732"/>
                      <a:pt x="42770" y="5397"/>
                      <a:pt x="101134" y="942"/>
                    </a:cubicBezTo>
                    <a:cubicBezTo>
                      <a:pt x="125192" y="-840"/>
                      <a:pt x="149251" y="496"/>
                      <a:pt x="173309" y="273"/>
                    </a:cubicBezTo>
                    <a:cubicBezTo>
                      <a:pt x="190239" y="51"/>
                      <a:pt x="206946" y="273"/>
                      <a:pt x="223876" y="273"/>
                    </a:cubicBezTo>
                    <a:cubicBezTo>
                      <a:pt x="237910" y="273"/>
                      <a:pt x="244816" y="7179"/>
                      <a:pt x="244816" y="20990"/>
                    </a:cubicBezTo>
                    <a:cubicBezTo>
                      <a:pt x="244816" y="88710"/>
                      <a:pt x="244816" y="156875"/>
                      <a:pt x="244816" y="225041"/>
                    </a:cubicBezTo>
                    <a:moveTo>
                      <a:pt x="184893" y="148856"/>
                    </a:moveTo>
                    <a:cubicBezTo>
                      <a:pt x="184893" y="120788"/>
                      <a:pt x="184893" y="92497"/>
                      <a:pt x="184893" y="64429"/>
                    </a:cubicBezTo>
                    <a:cubicBezTo>
                      <a:pt x="184893" y="57969"/>
                      <a:pt x="183556" y="56410"/>
                      <a:pt x="177764" y="56410"/>
                    </a:cubicBezTo>
                    <a:cubicBezTo>
                      <a:pt x="155711" y="56410"/>
                      <a:pt x="133658" y="55964"/>
                      <a:pt x="111604" y="56410"/>
                    </a:cubicBezTo>
                    <a:cubicBezTo>
                      <a:pt x="84650" y="57078"/>
                      <a:pt x="61705" y="78686"/>
                      <a:pt x="59923" y="105640"/>
                    </a:cubicBezTo>
                    <a:cubicBezTo>
                      <a:pt x="58141" y="133263"/>
                      <a:pt x="58364" y="160885"/>
                      <a:pt x="59700" y="188285"/>
                    </a:cubicBezTo>
                    <a:cubicBezTo>
                      <a:pt x="61260" y="221922"/>
                      <a:pt x="83090" y="240857"/>
                      <a:pt x="116728" y="240857"/>
                    </a:cubicBezTo>
                    <a:cubicBezTo>
                      <a:pt x="135885" y="240857"/>
                      <a:pt x="155265" y="240857"/>
                      <a:pt x="174423" y="240857"/>
                    </a:cubicBezTo>
                    <a:cubicBezTo>
                      <a:pt x="184002" y="240857"/>
                      <a:pt x="184670" y="240189"/>
                      <a:pt x="184670" y="230833"/>
                    </a:cubicBezTo>
                    <a:lnTo>
                      <a:pt x="184670" y="148856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2" name="Graphic 13">
                <a:extLst>
                  <a:ext uri="{FF2B5EF4-FFF2-40B4-BE49-F238E27FC236}">
                    <a16:creationId xmlns:a16="http://schemas.microsoft.com/office/drawing/2014/main" id="{3790D571-E4A7-4A78-87DB-447AE770B805}"/>
                  </a:ext>
                </a:extLst>
              </p:cNvPr>
              <p:cNvSpPr/>
              <p:nvPr/>
            </p:nvSpPr>
            <p:spPr>
              <a:xfrm>
                <a:off x="1483718" y="1137124"/>
                <a:ext cx="244815" cy="304629"/>
              </a:xfrm>
              <a:custGeom>
                <a:avLst/>
                <a:gdLst>
                  <a:gd name="connsiteX0" fmla="*/ 244816 w 244815"/>
                  <a:gd name="connsiteY0" fmla="*/ 149028 h 304629"/>
                  <a:gd name="connsiteX1" fmla="*/ 244816 w 244815"/>
                  <a:gd name="connsiteY1" fmla="*/ 275334 h 304629"/>
                  <a:gd name="connsiteX2" fmla="*/ 222317 w 244815"/>
                  <a:gd name="connsiteY2" fmla="*/ 298056 h 304629"/>
                  <a:gd name="connsiteX3" fmla="*/ 205610 w 244815"/>
                  <a:gd name="connsiteY3" fmla="*/ 298056 h 304629"/>
                  <a:gd name="connsiteX4" fmla="*/ 184893 w 244815"/>
                  <a:gd name="connsiteY4" fmla="*/ 279567 h 304629"/>
                  <a:gd name="connsiteX5" fmla="*/ 181997 w 244815"/>
                  <a:gd name="connsiteY5" fmla="*/ 273998 h 304629"/>
                  <a:gd name="connsiteX6" fmla="*/ 176428 w 244815"/>
                  <a:gd name="connsiteY6" fmla="*/ 276448 h 304629"/>
                  <a:gd name="connsiteX7" fmla="*/ 126084 w 244815"/>
                  <a:gd name="connsiteY7" fmla="*/ 302957 h 304629"/>
                  <a:gd name="connsiteX8" fmla="*/ 50344 w 244815"/>
                  <a:gd name="connsiteY8" fmla="*/ 289146 h 304629"/>
                  <a:gd name="connsiteX9" fmla="*/ 2450 w 244815"/>
                  <a:gd name="connsiteY9" fmla="*/ 213406 h 304629"/>
                  <a:gd name="connsiteX10" fmla="*/ 0 w 244815"/>
                  <a:gd name="connsiteY10" fmla="*/ 186452 h 304629"/>
                  <a:gd name="connsiteX11" fmla="*/ 0 w 244815"/>
                  <a:gd name="connsiteY11" fmla="*/ 124747 h 304629"/>
                  <a:gd name="connsiteX12" fmla="*/ 107372 w 244815"/>
                  <a:gd name="connsiteY12" fmla="*/ 1114 h 304629"/>
                  <a:gd name="connsiteX13" fmla="*/ 123410 w 244815"/>
                  <a:gd name="connsiteY13" fmla="*/ 0 h 304629"/>
                  <a:gd name="connsiteX14" fmla="*/ 222317 w 244815"/>
                  <a:gd name="connsiteY14" fmla="*/ 0 h 304629"/>
                  <a:gd name="connsiteX15" fmla="*/ 244816 w 244815"/>
                  <a:gd name="connsiteY15" fmla="*/ 22722 h 304629"/>
                  <a:gd name="connsiteX16" fmla="*/ 244816 w 244815"/>
                  <a:gd name="connsiteY16" fmla="*/ 149028 h 304629"/>
                  <a:gd name="connsiteX17" fmla="*/ 184893 w 244815"/>
                  <a:gd name="connsiteY17" fmla="*/ 122965 h 304629"/>
                  <a:gd name="connsiteX18" fmla="*/ 185116 w 244815"/>
                  <a:gd name="connsiteY18" fmla="*/ 122965 h 304629"/>
                  <a:gd name="connsiteX19" fmla="*/ 185116 w 244815"/>
                  <a:gd name="connsiteY19" fmla="*/ 64601 h 304629"/>
                  <a:gd name="connsiteX20" fmla="*/ 177987 w 244815"/>
                  <a:gd name="connsiteY20" fmla="*/ 56582 h 304629"/>
                  <a:gd name="connsiteX21" fmla="*/ 124079 w 244815"/>
                  <a:gd name="connsiteY21" fmla="*/ 56582 h 304629"/>
                  <a:gd name="connsiteX22" fmla="*/ 60591 w 244815"/>
                  <a:gd name="connsiteY22" fmla="*/ 116505 h 304629"/>
                  <a:gd name="connsiteX23" fmla="*/ 60146 w 244815"/>
                  <a:gd name="connsiteY23" fmla="*/ 196031 h 304629"/>
                  <a:gd name="connsiteX24" fmla="*/ 81531 w 244815"/>
                  <a:gd name="connsiteY24" fmla="*/ 237910 h 304629"/>
                  <a:gd name="connsiteX25" fmla="*/ 134326 w 244815"/>
                  <a:gd name="connsiteY25" fmla="*/ 245930 h 304629"/>
                  <a:gd name="connsiteX26" fmla="*/ 185116 w 244815"/>
                  <a:gd name="connsiteY26" fmla="*/ 181329 h 304629"/>
                  <a:gd name="connsiteX27" fmla="*/ 184893 w 244815"/>
                  <a:gd name="connsiteY27" fmla="*/ 122965 h 304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44815" h="304629">
                    <a:moveTo>
                      <a:pt x="244816" y="149028"/>
                    </a:moveTo>
                    <a:cubicBezTo>
                      <a:pt x="244816" y="191130"/>
                      <a:pt x="244816" y="233232"/>
                      <a:pt x="244816" y="275334"/>
                    </a:cubicBezTo>
                    <a:cubicBezTo>
                      <a:pt x="244816" y="291596"/>
                      <a:pt x="238579" y="298056"/>
                      <a:pt x="222317" y="298056"/>
                    </a:cubicBezTo>
                    <a:cubicBezTo>
                      <a:pt x="216748" y="298056"/>
                      <a:pt x="211179" y="298056"/>
                      <a:pt x="205610" y="298056"/>
                    </a:cubicBezTo>
                    <a:cubicBezTo>
                      <a:pt x="193581" y="298056"/>
                      <a:pt x="186229" y="291596"/>
                      <a:pt x="184893" y="279567"/>
                    </a:cubicBezTo>
                    <a:cubicBezTo>
                      <a:pt x="184670" y="277339"/>
                      <a:pt x="184447" y="275112"/>
                      <a:pt x="181997" y="273998"/>
                    </a:cubicBezTo>
                    <a:cubicBezTo>
                      <a:pt x="179324" y="272884"/>
                      <a:pt x="177764" y="274889"/>
                      <a:pt x="176428" y="276448"/>
                    </a:cubicBezTo>
                    <a:cubicBezTo>
                      <a:pt x="163508" y="292487"/>
                      <a:pt x="145909" y="300061"/>
                      <a:pt x="126084" y="302957"/>
                    </a:cubicBezTo>
                    <a:cubicBezTo>
                      <a:pt x="99352" y="306967"/>
                      <a:pt x="73512" y="304294"/>
                      <a:pt x="50344" y="289146"/>
                    </a:cubicBezTo>
                    <a:cubicBezTo>
                      <a:pt x="22722" y="271325"/>
                      <a:pt x="8910" y="244816"/>
                      <a:pt x="2450" y="213406"/>
                    </a:cubicBezTo>
                    <a:cubicBezTo>
                      <a:pt x="668" y="204496"/>
                      <a:pt x="0" y="195363"/>
                      <a:pt x="0" y="186452"/>
                    </a:cubicBezTo>
                    <a:cubicBezTo>
                      <a:pt x="223" y="165958"/>
                      <a:pt x="0" y="145241"/>
                      <a:pt x="0" y="124747"/>
                    </a:cubicBezTo>
                    <a:cubicBezTo>
                      <a:pt x="0" y="60814"/>
                      <a:pt x="44107" y="10024"/>
                      <a:pt x="107372" y="1114"/>
                    </a:cubicBezTo>
                    <a:cubicBezTo>
                      <a:pt x="112718" y="446"/>
                      <a:pt x="118064" y="0"/>
                      <a:pt x="123410" y="0"/>
                    </a:cubicBezTo>
                    <a:cubicBezTo>
                      <a:pt x="156379" y="0"/>
                      <a:pt x="189348" y="0"/>
                      <a:pt x="222317" y="0"/>
                    </a:cubicBezTo>
                    <a:cubicBezTo>
                      <a:pt x="238356" y="0"/>
                      <a:pt x="244816" y="6460"/>
                      <a:pt x="244816" y="22722"/>
                    </a:cubicBezTo>
                    <a:cubicBezTo>
                      <a:pt x="244816" y="64824"/>
                      <a:pt x="244816" y="106926"/>
                      <a:pt x="244816" y="149028"/>
                    </a:cubicBezTo>
                    <a:moveTo>
                      <a:pt x="184893" y="122965"/>
                    </a:moveTo>
                    <a:lnTo>
                      <a:pt x="185116" y="122965"/>
                    </a:lnTo>
                    <a:cubicBezTo>
                      <a:pt x="185116" y="103585"/>
                      <a:pt x="185116" y="83981"/>
                      <a:pt x="185116" y="64601"/>
                    </a:cubicBezTo>
                    <a:cubicBezTo>
                      <a:pt x="185116" y="58141"/>
                      <a:pt x="183556" y="56582"/>
                      <a:pt x="177987" y="56582"/>
                    </a:cubicBezTo>
                    <a:cubicBezTo>
                      <a:pt x="159943" y="56582"/>
                      <a:pt x="142122" y="56136"/>
                      <a:pt x="124079" y="56582"/>
                    </a:cubicBezTo>
                    <a:cubicBezTo>
                      <a:pt x="90219" y="57473"/>
                      <a:pt x="63042" y="82645"/>
                      <a:pt x="60591" y="116505"/>
                    </a:cubicBezTo>
                    <a:cubicBezTo>
                      <a:pt x="58586" y="143014"/>
                      <a:pt x="59700" y="169522"/>
                      <a:pt x="60146" y="196031"/>
                    </a:cubicBezTo>
                    <a:cubicBezTo>
                      <a:pt x="60591" y="212961"/>
                      <a:pt x="67274" y="227886"/>
                      <a:pt x="81531" y="237910"/>
                    </a:cubicBezTo>
                    <a:cubicBezTo>
                      <a:pt x="97570" y="249494"/>
                      <a:pt x="115836" y="249940"/>
                      <a:pt x="134326" y="245930"/>
                    </a:cubicBezTo>
                    <a:cubicBezTo>
                      <a:pt x="162839" y="239470"/>
                      <a:pt x="184002" y="212293"/>
                      <a:pt x="185116" y="181329"/>
                    </a:cubicBezTo>
                    <a:cubicBezTo>
                      <a:pt x="185338" y="161948"/>
                      <a:pt x="184893" y="142345"/>
                      <a:pt x="184893" y="122965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3" name="Graphic 13">
                <a:extLst>
                  <a:ext uri="{FF2B5EF4-FFF2-40B4-BE49-F238E27FC236}">
                    <a16:creationId xmlns:a16="http://schemas.microsoft.com/office/drawing/2014/main" id="{E12358EF-71EF-4EA3-B0CB-C9D66466BE4E}"/>
                  </a:ext>
                </a:extLst>
              </p:cNvPr>
              <p:cNvSpPr/>
              <p:nvPr/>
            </p:nvSpPr>
            <p:spPr>
              <a:xfrm>
                <a:off x="2004481" y="1559621"/>
                <a:ext cx="235169" cy="311281"/>
              </a:xfrm>
              <a:custGeom>
                <a:avLst/>
                <a:gdLst>
                  <a:gd name="connsiteX0" fmla="*/ 142178 w 235169"/>
                  <a:gd name="connsiteY0" fmla="*/ 177180 h 311281"/>
                  <a:gd name="connsiteX1" fmla="*/ 69335 w 235169"/>
                  <a:gd name="connsiteY1" fmla="*/ 177180 h 311281"/>
                  <a:gd name="connsiteX2" fmla="*/ 60424 w 235169"/>
                  <a:gd name="connsiteY2" fmla="*/ 186313 h 311281"/>
                  <a:gd name="connsiteX3" fmla="*/ 63098 w 235169"/>
                  <a:gd name="connsiteY3" fmla="*/ 215495 h 311281"/>
                  <a:gd name="connsiteX4" fmla="*/ 117229 w 235169"/>
                  <a:gd name="connsiteY4" fmla="*/ 255146 h 311281"/>
                  <a:gd name="connsiteX5" fmla="*/ 182053 w 235169"/>
                  <a:gd name="connsiteY5" fmla="*/ 229306 h 311281"/>
                  <a:gd name="connsiteX6" fmla="*/ 210343 w 235169"/>
                  <a:gd name="connsiteY6" fmla="*/ 228861 h 311281"/>
                  <a:gd name="connsiteX7" fmla="*/ 221036 w 235169"/>
                  <a:gd name="connsiteY7" fmla="*/ 238439 h 311281"/>
                  <a:gd name="connsiteX8" fmla="*/ 224377 w 235169"/>
                  <a:gd name="connsiteY8" fmla="*/ 264280 h 311281"/>
                  <a:gd name="connsiteX9" fmla="*/ 217249 w 235169"/>
                  <a:gd name="connsiteY9" fmla="*/ 272745 h 311281"/>
                  <a:gd name="connsiteX10" fmla="*/ 130595 w 235169"/>
                  <a:gd name="connsiteY10" fmla="*/ 311060 h 311281"/>
                  <a:gd name="connsiteX11" fmla="*/ 42158 w 235169"/>
                  <a:gd name="connsiteY11" fmla="*/ 285219 h 311281"/>
                  <a:gd name="connsiteX12" fmla="*/ 501 w 235169"/>
                  <a:gd name="connsiteY12" fmla="*/ 198565 h 311281"/>
                  <a:gd name="connsiteX13" fmla="*/ 501 w 235169"/>
                  <a:gd name="connsiteY13" fmla="*/ 114138 h 311281"/>
                  <a:gd name="connsiteX14" fmla="*/ 68444 w 235169"/>
                  <a:gd name="connsiteY14" fmla="*/ 8994 h 311281"/>
                  <a:gd name="connsiteX15" fmla="*/ 211457 w 235169"/>
                  <a:gd name="connsiteY15" fmla="*/ 44191 h 311281"/>
                  <a:gd name="connsiteX16" fmla="*/ 235070 w 235169"/>
                  <a:gd name="connsiteY16" fmla="*/ 113247 h 311281"/>
                  <a:gd name="connsiteX17" fmla="*/ 235070 w 235169"/>
                  <a:gd name="connsiteY17" fmla="*/ 156686 h 311281"/>
                  <a:gd name="connsiteX18" fmla="*/ 214576 w 235169"/>
                  <a:gd name="connsiteY18" fmla="*/ 177180 h 311281"/>
                  <a:gd name="connsiteX19" fmla="*/ 142178 w 235169"/>
                  <a:gd name="connsiteY19" fmla="*/ 177180 h 311281"/>
                  <a:gd name="connsiteX20" fmla="*/ 117674 w 235169"/>
                  <a:gd name="connsiteY20" fmla="*/ 127281 h 311281"/>
                  <a:gd name="connsiteX21" fmla="*/ 168241 w 235169"/>
                  <a:gd name="connsiteY21" fmla="*/ 127281 h 311281"/>
                  <a:gd name="connsiteX22" fmla="*/ 175815 w 235169"/>
                  <a:gd name="connsiteY22" fmla="*/ 119707 h 311281"/>
                  <a:gd name="connsiteX23" fmla="*/ 174701 w 235169"/>
                  <a:gd name="connsiteY23" fmla="*/ 104782 h 311281"/>
                  <a:gd name="connsiteX24" fmla="*/ 138837 w 235169"/>
                  <a:gd name="connsiteY24" fmla="*/ 59784 h 311281"/>
                  <a:gd name="connsiteX25" fmla="*/ 101413 w 235169"/>
                  <a:gd name="connsiteY25" fmla="*/ 58225 h 311281"/>
                  <a:gd name="connsiteX26" fmla="*/ 66662 w 235169"/>
                  <a:gd name="connsiteY26" fmla="*/ 85624 h 311281"/>
                  <a:gd name="connsiteX27" fmla="*/ 60202 w 235169"/>
                  <a:gd name="connsiteY27" fmla="*/ 119707 h 311281"/>
                  <a:gd name="connsiteX28" fmla="*/ 68221 w 235169"/>
                  <a:gd name="connsiteY28" fmla="*/ 127504 h 311281"/>
                  <a:gd name="connsiteX29" fmla="*/ 117674 w 235169"/>
                  <a:gd name="connsiteY29" fmla="*/ 127281 h 311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5169" h="311281">
                    <a:moveTo>
                      <a:pt x="142178" y="177180"/>
                    </a:moveTo>
                    <a:cubicBezTo>
                      <a:pt x="117897" y="177180"/>
                      <a:pt x="93616" y="177180"/>
                      <a:pt x="69335" y="177180"/>
                    </a:cubicBezTo>
                    <a:cubicBezTo>
                      <a:pt x="61761" y="177180"/>
                      <a:pt x="60424" y="178516"/>
                      <a:pt x="60424" y="186313"/>
                    </a:cubicBezTo>
                    <a:cubicBezTo>
                      <a:pt x="60424" y="196114"/>
                      <a:pt x="60202" y="205916"/>
                      <a:pt x="63098" y="215495"/>
                    </a:cubicBezTo>
                    <a:cubicBezTo>
                      <a:pt x="70449" y="240222"/>
                      <a:pt x="90052" y="253810"/>
                      <a:pt x="117229" y="255146"/>
                    </a:cubicBezTo>
                    <a:cubicBezTo>
                      <a:pt x="143069" y="256260"/>
                      <a:pt x="164232" y="247795"/>
                      <a:pt x="182053" y="229306"/>
                    </a:cubicBezTo>
                    <a:cubicBezTo>
                      <a:pt x="191186" y="219727"/>
                      <a:pt x="200542" y="219950"/>
                      <a:pt x="210343" y="228861"/>
                    </a:cubicBezTo>
                    <a:cubicBezTo>
                      <a:pt x="213908" y="231979"/>
                      <a:pt x="217472" y="235321"/>
                      <a:pt x="221036" y="238439"/>
                    </a:cubicBezTo>
                    <a:cubicBezTo>
                      <a:pt x="229278" y="246013"/>
                      <a:pt x="230615" y="254924"/>
                      <a:pt x="224377" y="264280"/>
                    </a:cubicBezTo>
                    <a:cubicBezTo>
                      <a:pt x="222373" y="267398"/>
                      <a:pt x="219922" y="270294"/>
                      <a:pt x="217249" y="272745"/>
                    </a:cubicBezTo>
                    <a:cubicBezTo>
                      <a:pt x="193191" y="296358"/>
                      <a:pt x="164454" y="309501"/>
                      <a:pt x="130595" y="311060"/>
                    </a:cubicBezTo>
                    <a:cubicBezTo>
                      <a:pt x="98071" y="312619"/>
                      <a:pt x="67998" y="306159"/>
                      <a:pt x="42158" y="285219"/>
                    </a:cubicBezTo>
                    <a:cubicBezTo>
                      <a:pt x="14758" y="262943"/>
                      <a:pt x="1392" y="233539"/>
                      <a:pt x="501" y="198565"/>
                    </a:cubicBezTo>
                    <a:cubicBezTo>
                      <a:pt x="-167" y="170497"/>
                      <a:pt x="-167" y="142206"/>
                      <a:pt x="501" y="114138"/>
                    </a:cubicBezTo>
                    <a:cubicBezTo>
                      <a:pt x="1615" y="66689"/>
                      <a:pt x="23891" y="26815"/>
                      <a:pt x="68444" y="8994"/>
                    </a:cubicBezTo>
                    <a:cubicBezTo>
                      <a:pt x="112551" y="-8604"/>
                      <a:pt x="176038" y="-2144"/>
                      <a:pt x="211457" y="44191"/>
                    </a:cubicBezTo>
                    <a:cubicBezTo>
                      <a:pt x="227051" y="64462"/>
                      <a:pt x="234625" y="87852"/>
                      <a:pt x="235070" y="113247"/>
                    </a:cubicBezTo>
                    <a:cubicBezTo>
                      <a:pt x="235293" y="127726"/>
                      <a:pt x="235070" y="142206"/>
                      <a:pt x="235070" y="156686"/>
                    </a:cubicBezTo>
                    <a:cubicBezTo>
                      <a:pt x="235070" y="170274"/>
                      <a:pt x="228164" y="177180"/>
                      <a:pt x="214576" y="177180"/>
                    </a:cubicBezTo>
                    <a:cubicBezTo>
                      <a:pt x="190740" y="177402"/>
                      <a:pt x="166459" y="177180"/>
                      <a:pt x="142178" y="177180"/>
                    </a:cubicBezTo>
                    <a:moveTo>
                      <a:pt x="117674" y="127281"/>
                    </a:moveTo>
                    <a:cubicBezTo>
                      <a:pt x="134604" y="127281"/>
                      <a:pt x="151311" y="127281"/>
                      <a:pt x="168241" y="127281"/>
                    </a:cubicBezTo>
                    <a:cubicBezTo>
                      <a:pt x="174033" y="127281"/>
                      <a:pt x="175593" y="125499"/>
                      <a:pt x="175815" y="119707"/>
                    </a:cubicBezTo>
                    <a:cubicBezTo>
                      <a:pt x="176038" y="114806"/>
                      <a:pt x="175815" y="109683"/>
                      <a:pt x="174701" y="104782"/>
                    </a:cubicBezTo>
                    <a:cubicBezTo>
                      <a:pt x="170469" y="83619"/>
                      <a:pt x="161113" y="66467"/>
                      <a:pt x="138837" y="59784"/>
                    </a:cubicBezTo>
                    <a:cubicBezTo>
                      <a:pt x="126585" y="56220"/>
                      <a:pt x="114110" y="56220"/>
                      <a:pt x="101413" y="58225"/>
                    </a:cubicBezTo>
                    <a:cubicBezTo>
                      <a:pt x="84705" y="60898"/>
                      <a:pt x="73345" y="70031"/>
                      <a:pt x="66662" y="85624"/>
                    </a:cubicBezTo>
                    <a:cubicBezTo>
                      <a:pt x="61984" y="96540"/>
                      <a:pt x="59979" y="107901"/>
                      <a:pt x="60202" y="119707"/>
                    </a:cubicBezTo>
                    <a:cubicBezTo>
                      <a:pt x="60424" y="125944"/>
                      <a:pt x="61761" y="127504"/>
                      <a:pt x="68221" y="127504"/>
                    </a:cubicBezTo>
                    <a:cubicBezTo>
                      <a:pt x="84928" y="127281"/>
                      <a:pt x="101413" y="127281"/>
                      <a:pt x="117674" y="127281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4" name="Graphic 13">
                <a:extLst>
                  <a:ext uri="{FF2B5EF4-FFF2-40B4-BE49-F238E27FC236}">
                    <a16:creationId xmlns:a16="http://schemas.microsoft.com/office/drawing/2014/main" id="{B88AD1A0-5436-4E21-A7C0-3335A09EC52A}"/>
                  </a:ext>
                </a:extLst>
              </p:cNvPr>
              <p:cNvSpPr/>
              <p:nvPr/>
            </p:nvSpPr>
            <p:spPr>
              <a:xfrm>
                <a:off x="2003393" y="1130406"/>
                <a:ext cx="235998" cy="311136"/>
              </a:xfrm>
              <a:custGeom>
                <a:avLst/>
                <a:gdLst>
                  <a:gd name="connsiteX0" fmla="*/ 143043 w 235998"/>
                  <a:gd name="connsiteY0" fmla="*/ 176908 h 311136"/>
                  <a:gd name="connsiteX1" fmla="*/ 69754 w 235998"/>
                  <a:gd name="connsiteY1" fmla="*/ 176908 h 311136"/>
                  <a:gd name="connsiteX2" fmla="*/ 60398 w 235998"/>
                  <a:gd name="connsiteY2" fmla="*/ 186264 h 311136"/>
                  <a:gd name="connsiteX3" fmla="*/ 62403 w 235998"/>
                  <a:gd name="connsiteY3" fmla="*/ 212773 h 311136"/>
                  <a:gd name="connsiteX4" fmla="*/ 112970 w 235998"/>
                  <a:gd name="connsiteY4" fmla="*/ 254430 h 311136"/>
                  <a:gd name="connsiteX5" fmla="*/ 182027 w 235998"/>
                  <a:gd name="connsiteY5" fmla="*/ 228812 h 311136"/>
                  <a:gd name="connsiteX6" fmla="*/ 209872 w 235998"/>
                  <a:gd name="connsiteY6" fmla="*/ 228144 h 311136"/>
                  <a:gd name="connsiteX7" fmla="*/ 220564 w 235998"/>
                  <a:gd name="connsiteY7" fmla="*/ 237722 h 311136"/>
                  <a:gd name="connsiteX8" fmla="*/ 223683 w 235998"/>
                  <a:gd name="connsiteY8" fmla="*/ 264899 h 311136"/>
                  <a:gd name="connsiteX9" fmla="*/ 200739 w 235998"/>
                  <a:gd name="connsiteY9" fmla="*/ 286507 h 311136"/>
                  <a:gd name="connsiteX10" fmla="*/ 44582 w 235998"/>
                  <a:gd name="connsiteY10" fmla="*/ 286953 h 311136"/>
                  <a:gd name="connsiteX11" fmla="*/ 921 w 235998"/>
                  <a:gd name="connsiteY11" fmla="*/ 201412 h 311136"/>
                  <a:gd name="connsiteX12" fmla="*/ 921 w 235998"/>
                  <a:gd name="connsiteY12" fmla="*/ 109634 h 311136"/>
                  <a:gd name="connsiteX13" fmla="*/ 103837 w 235998"/>
                  <a:gd name="connsiteY13" fmla="*/ 480 h 311136"/>
                  <a:gd name="connsiteX14" fmla="*/ 200293 w 235998"/>
                  <a:gd name="connsiteY14" fmla="*/ 31222 h 311136"/>
                  <a:gd name="connsiteX15" fmla="*/ 234599 w 235998"/>
                  <a:gd name="connsiteY15" fmla="*/ 100278 h 311136"/>
                  <a:gd name="connsiteX16" fmla="*/ 235712 w 235998"/>
                  <a:gd name="connsiteY16" fmla="*/ 158642 h 311136"/>
                  <a:gd name="connsiteX17" fmla="*/ 216555 w 235998"/>
                  <a:gd name="connsiteY17" fmla="*/ 176686 h 311136"/>
                  <a:gd name="connsiteX18" fmla="*/ 143043 w 235998"/>
                  <a:gd name="connsiteY18" fmla="*/ 176908 h 311136"/>
                  <a:gd name="connsiteX19" fmla="*/ 118094 w 235998"/>
                  <a:gd name="connsiteY19" fmla="*/ 127232 h 311136"/>
                  <a:gd name="connsiteX20" fmla="*/ 137474 w 235998"/>
                  <a:gd name="connsiteY20" fmla="*/ 127232 h 311136"/>
                  <a:gd name="connsiteX21" fmla="*/ 167547 w 235998"/>
                  <a:gd name="connsiteY21" fmla="*/ 127232 h 311136"/>
                  <a:gd name="connsiteX22" fmla="*/ 175789 w 235998"/>
                  <a:gd name="connsiteY22" fmla="*/ 118767 h 311136"/>
                  <a:gd name="connsiteX23" fmla="*/ 175567 w 235998"/>
                  <a:gd name="connsiteY23" fmla="*/ 109411 h 311136"/>
                  <a:gd name="connsiteX24" fmla="*/ 134133 w 235998"/>
                  <a:gd name="connsiteY24" fmla="*/ 58176 h 311136"/>
                  <a:gd name="connsiteX25" fmla="*/ 106956 w 235998"/>
                  <a:gd name="connsiteY25" fmla="*/ 57062 h 311136"/>
                  <a:gd name="connsiteX26" fmla="*/ 70868 w 235998"/>
                  <a:gd name="connsiteY26" fmla="*/ 77556 h 311136"/>
                  <a:gd name="connsiteX27" fmla="*/ 60398 w 235998"/>
                  <a:gd name="connsiteY27" fmla="*/ 117208 h 311136"/>
                  <a:gd name="connsiteX28" fmla="*/ 70423 w 235998"/>
                  <a:gd name="connsiteY28" fmla="*/ 127232 h 311136"/>
                  <a:gd name="connsiteX29" fmla="*/ 118094 w 235998"/>
                  <a:gd name="connsiteY29" fmla="*/ 127232 h 311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5998" h="311136">
                    <a:moveTo>
                      <a:pt x="143043" y="176908"/>
                    </a:moveTo>
                    <a:cubicBezTo>
                      <a:pt x="118539" y="176908"/>
                      <a:pt x="94035" y="176908"/>
                      <a:pt x="69754" y="176908"/>
                    </a:cubicBezTo>
                    <a:cubicBezTo>
                      <a:pt x="61735" y="176908"/>
                      <a:pt x="60621" y="178245"/>
                      <a:pt x="60398" y="186264"/>
                    </a:cubicBezTo>
                    <a:cubicBezTo>
                      <a:pt x="60398" y="195175"/>
                      <a:pt x="60176" y="204085"/>
                      <a:pt x="62403" y="212773"/>
                    </a:cubicBezTo>
                    <a:cubicBezTo>
                      <a:pt x="68641" y="237500"/>
                      <a:pt x="87130" y="252425"/>
                      <a:pt x="112970" y="254430"/>
                    </a:cubicBezTo>
                    <a:cubicBezTo>
                      <a:pt x="140147" y="256657"/>
                      <a:pt x="163315" y="248861"/>
                      <a:pt x="182027" y="228812"/>
                    </a:cubicBezTo>
                    <a:cubicBezTo>
                      <a:pt x="190937" y="219456"/>
                      <a:pt x="200293" y="219456"/>
                      <a:pt x="209872" y="228144"/>
                    </a:cubicBezTo>
                    <a:cubicBezTo>
                      <a:pt x="213436" y="231485"/>
                      <a:pt x="217000" y="234604"/>
                      <a:pt x="220564" y="237722"/>
                    </a:cubicBezTo>
                    <a:cubicBezTo>
                      <a:pt x="229475" y="245742"/>
                      <a:pt x="230589" y="254875"/>
                      <a:pt x="223683" y="264899"/>
                    </a:cubicBezTo>
                    <a:cubicBezTo>
                      <a:pt x="217446" y="273587"/>
                      <a:pt x="209204" y="280270"/>
                      <a:pt x="200739" y="286507"/>
                    </a:cubicBezTo>
                    <a:cubicBezTo>
                      <a:pt x="154850" y="321036"/>
                      <a:pt x="83566" y="317471"/>
                      <a:pt x="44582" y="286953"/>
                    </a:cubicBezTo>
                    <a:cubicBezTo>
                      <a:pt x="16960" y="265122"/>
                      <a:pt x="2257" y="236386"/>
                      <a:pt x="921" y="201412"/>
                    </a:cubicBezTo>
                    <a:cubicBezTo>
                      <a:pt x="-193" y="170894"/>
                      <a:pt x="-416" y="140375"/>
                      <a:pt x="921" y="109634"/>
                    </a:cubicBezTo>
                    <a:cubicBezTo>
                      <a:pt x="3594" y="42805"/>
                      <a:pt x="50151" y="4490"/>
                      <a:pt x="103837" y="480"/>
                    </a:cubicBezTo>
                    <a:cubicBezTo>
                      <a:pt x="140147" y="-2193"/>
                      <a:pt x="172893" y="6050"/>
                      <a:pt x="200293" y="31222"/>
                    </a:cubicBezTo>
                    <a:cubicBezTo>
                      <a:pt x="220342" y="49934"/>
                      <a:pt x="231034" y="73324"/>
                      <a:pt x="234599" y="100278"/>
                    </a:cubicBezTo>
                    <a:cubicBezTo>
                      <a:pt x="237049" y="119658"/>
                      <a:pt x="235490" y="139039"/>
                      <a:pt x="235712" y="158642"/>
                    </a:cubicBezTo>
                    <a:cubicBezTo>
                      <a:pt x="235712" y="169557"/>
                      <a:pt x="227916" y="176463"/>
                      <a:pt x="216555" y="176686"/>
                    </a:cubicBezTo>
                    <a:cubicBezTo>
                      <a:pt x="192051" y="176908"/>
                      <a:pt x="167547" y="176908"/>
                      <a:pt x="143043" y="176908"/>
                    </a:cubicBezTo>
                    <a:moveTo>
                      <a:pt x="118094" y="127232"/>
                    </a:moveTo>
                    <a:lnTo>
                      <a:pt x="137474" y="127232"/>
                    </a:lnTo>
                    <a:cubicBezTo>
                      <a:pt x="147498" y="127232"/>
                      <a:pt x="157523" y="127455"/>
                      <a:pt x="167547" y="127232"/>
                    </a:cubicBezTo>
                    <a:cubicBezTo>
                      <a:pt x="174007" y="127010"/>
                      <a:pt x="175567" y="125450"/>
                      <a:pt x="175789" y="118767"/>
                    </a:cubicBezTo>
                    <a:cubicBezTo>
                      <a:pt x="175789" y="115649"/>
                      <a:pt x="175789" y="112530"/>
                      <a:pt x="175567" y="109411"/>
                    </a:cubicBezTo>
                    <a:cubicBezTo>
                      <a:pt x="173339" y="87358"/>
                      <a:pt x="161978" y="63299"/>
                      <a:pt x="134133" y="58176"/>
                    </a:cubicBezTo>
                    <a:cubicBezTo>
                      <a:pt x="125222" y="56394"/>
                      <a:pt x="116089" y="55948"/>
                      <a:pt x="106956" y="57062"/>
                    </a:cubicBezTo>
                    <a:cubicBezTo>
                      <a:pt x="92031" y="58621"/>
                      <a:pt x="79110" y="63968"/>
                      <a:pt x="70868" y="77556"/>
                    </a:cubicBezTo>
                    <a:cubicBezTo>
                      <a:pt x="63517" y="89808"/>
                      <a:pt x="60398" y="103174"/>
                      <a:pt x="60398" y="117208"/>
                    </a:cubicBezTo>
                    <a:cubicBezTo>
                      <a:pt x="60398" y="125896"/>
                      <a:pt x="61512" y="127232"/>
                      <a:pt x="70423" y="127232"/>
                    </a:cubicBezTo>
                    <a:cubicBezTo>
                      <a:pt x="86239" y="127455"/>
                      <a:pt x="102278" y="127232"/>
                      <a:pt x="118094" y="127232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5" name="Graphic 13">
                <a:extLst>
                  <a:ext uri="{FF2B5EF4-FFF2-40B4-BE49-F238E27FC236}">
                    <a16:creationId xmlns:a16="http://schemas.microsoft.com/office/drawing/2014/main" id="{24EA3C8A-2CC2-416F-88BD-FA200C0EFD33}"/>
                  </a:ext>
                </a:extLst>
              </p:cNvPr>
              <p:cNvSpPr/>
              <p:nvPr/>
            </p:nvSpPr>
            <p:spPr>
              <a:xfrm>
                <a:off x="1173187" y="1140242"/>
                <a:ext cx="244231" cy="304070"/>
              </a:xfrm>
              <a:custGeom>
                <a:avLst/>
                <a:gdLst>
                  <a:gd name="connsiteX0" fmla="*/ 244148 w 244231"/>
                  <a:gd name="connsiteY0" fmla="*/ 180215 h 304070"/>
                  <a:gd name="connsiteX1" fmla="*/ 244148 w 244231"/>
                  <a:gd name="connsiteY1" fmla="*/ 77299 h 304070"/>
                  <a:gd name="connsiteX2" fmla="*/ 244148 w 244231"/>
                  <a:gd name="connsiteY2" fmla="*/ 55691 h 304070"/>
                  <a:gd name="connsiteX3" fmla="*/ 244148 w 244231"/>
                  <a:gd name="connsiteY3" fmla="*/ 21385 h 304070"/>
                  <a:gd name="connsiteX4" fmla="*/ 244148 w 244231"/>
                  <a:gd name="connsiteY4" fmla="*/ 20494 h 304070"/>
                  <a:gd name="connsiteX5" fmla="*/ 244148 w 244231"/>
                  <a:gd name="connsiteY5" fmla="*/ 20049 h 304070"/>
                  <a:gd name="connsiteX6" fmla="*/ 242143 w 244231"/>
                  <a:gd name="connsiteY6" fmla="*/ 9802 h 304070"/>
                  <a:gd name="connsiteX7" fmla="*/ 242143 w 244231"/>
                  <a:gd name="connsiteY7" fmla="*/ 9802 h 304070"/>
                  <a:gd name="connsiteX8" fmla="*/ 241697 w 244231"/>
                  <a:gd name="connsiteY8" fmla="*/ 8910 h 304070"/>
                  <a:gd name="connsiteX9" fmla="*/ 236128 w 244231"/>
                  <a:gd name="connsiteY9" fmla="*/ 2896 h 304070"/>
                  <a:gd name="connsiteX10" fmla="*/ 236128 w 244231"/>
                  <a:gd name="connsiteY10" fmla="*/ 2896 h 304070"/>
                  <a:gd name="connsiteX11" fmla="*/ 235683 w 244231"/>
                  <a:gd name="connsiteY11" fmla="*/ 2673 h 304070"/>
                  <a:gd name="connsiteX12" fmla="*/ 224099 w 244231"/>
                  <a:gd name="connsiteY12" fmla="*/ 0 h 304070"/>
                  <a:gd name="connsiteX13" fmla="*/ 222985 w 244231"/>
                  <a:gd name="connsiteY13" fmla="*/ 0 h 304070"/>
                  <a:gd name="connsiteX14" fmla="*/ 222762 w 244231"/>
                  <a:gd name="connsiteY14" fmla="*/ 0 h 304070"/>
                  <a:gd name="connsiteX15" fmla="*/ 213406 w 244231"/>
                  <a:gd name="connsiteY15" fmla="*/ 0 h 304070"/>
                  <a:gd name="connsiteX16" fmla="*/ 203828 w 244231"/>
                  <a:gd name="connsiteY16" fmla="*/ 0 h 304070"/>
                  <a:gd name="connsiteX17" fmla="*/ 203605 w 244231"/>
                  <a:gd name="connsiteY17" fmla="*/ 0 h 304070"/>
                  <a:gd name="connsiteX18" fmla="*/ 202937 w 244231"/>
                  <a:gd name="connsiteY18" fmla="*/ 0 h 304070"/>
                  <a:gd name="connsiteX19" fmla="*/ 192467 w 244231"/>
                  <a:gd name="connsiteY19" fmla="*/ 1782 h 304070"/>
                  <a:gd name="connsiteX20" fmla="*/ 192021 w 244231"/>
                  <a:gd name="connsiteY20" fmla="*/ 2005 h 304070"/>
                  <a:gd name="connsiteX21" fmla="*/ 191130 w 244231"/>
                  <a:gd name="connsiteY21" fmla="*/ 2450 h 304070"/>
                  <a:gd name="connsiteX22" fmla="*/ 190016 w 244231"/>
                  <a:gd name="connsiteY22" fmla="*/ 2896 h 304070"/>
                  <a:gd name="connsiteX23" fmla="*/ 190016 w 244231"/>
                  <a:gd name="connsiteY23" fmla="*/ 2896 h 304070"/>
                  <a:gd name="connsiteX24" fmla="*/ 187120 w 244231"/>
                  <a:gd name="connsiteY24" fmla="*/ 5124 h 304070"/>
                  <a:gd name="connsiteX25" fmla="*/ 181774 w 244231"/>
                  <a:gd name="connsiteY25" fmla="*/ 20940 h 304070"/>
                  <a:gd name="connsiteX26" fmla="*/ 181774 w 244231"/>
                  <a:gd name="connsiteY26" fmla="*/ 79749 h 304070"/>
                  <a:gd name="connsiteX27" fmla="*/ 181774 w 244231"/>
                  <a:gd name="connsiteY27" fmla="*/ 187120 h 304070"/>
                  <a:gd name="connsiteX28" fmla="*/ 181106 w 244231"/>
                  <a:gd name="connsiteY28" fmla="*/ 196254 h 304070"/>
                  <a:gd name="connsiteX29" fmla="*/ 180883 w 244231"/>
                  <a:gd name="connsiteY29" fmla="*/ 197145 h 304070"/>
                  <a:gd name="connsiteX30" fmla="*/ 175314 w 244231"/>
                  <a:gd name="connsiteY30" fmla="*/ 215634 h 304070"/>
                  <a:gd name="connsiteX31" fmla="*/ 162171 w 244231"/>
                  <a:gd name="connsiteY31" fmla="*/ 233901 h 304070"/>
                  <a:gd name="connsiteX32" fmla="*/ 149474 w 244231"/>
                  <a:gd name="connsiteY32" fmla="*/ 242588 h 304070"/>
                  <a:gd name="connsiteX33" fmla="*/ 148805 w 244231"/>
                  <a:gd name="connsiteY33" fmla="*/ 242811 h 304070"/>
                  <a:gd name="connsiteX34" fmla="*/ 124079 w 244231"/>
                  <a:gd name="connsiteY34" fmla="*/ 247712 h 304070"/>
                  <a:gd name="connsiteX35" fmla="*/ 122074 w 244231"/>
                  <a:gd name="connsiteY35" fmla="*/ 247712 h 304070"/>
                  <a:gd name="connsiteX36" fmla="*/ 120069 w 244231"/>
                  <a:gd name="connsiteY36" fmla="*/ 247712 h 304070"/>
                  <a:gd name="connsiteX37" fmla="*/ 95342 w 244231"/>
                  <a:gd name="connsiteY37" fmla="*/ 242811 h 304070"/>
                  <a:gd name="connsiteX38" fmla="*/ 94674 w 244231"/>
                  <a:gd name="connsiteY38" fmla="*/ 242588 h 304070"/>
                  <a:gd name="connsiteX39" fmla="*/ 81977 w 244231"/>
                  <a:gd name="connsiteY39" fmla="*/ 233901 h 304070"/>
                  <a:gd name="connsiteX40" fmla="*/ 68834 w 244231"/>
                  <a:gd name="connsiteY40" fmla="*/ 215634 h 304070"/>
                  <a:gd name="connsiteX41" fmla="*/ 63265 w 244231"/>
                  <a:gd name="connsiteY41" fmla="*/ 197145 h 304070"/>
                  <a:gd name="connsiteX42" fmla="*/ 63042 w 244231"/>
                  <a:gd name="connsiteY42" fmla="*/ 196254 h 304070"/>
                  <a:gd name="connsiteX43" fmla="*/ 62373 w 244231"/>
                  <a:gd name="connsiteY43" fmla="*/ 187120 h 304070"/>
                  <a:gd name="connsiteX44" fmla="*/ 62373 w 244231"/>
                  <a:gd name="connsiteY44" fmla="*/ 79749 h 304070"/>
                  <a:gd name="connsiteX45" fmla="*/ 62373 w 244231"/>
                  <a:gd name="connsiteY45" fmla="*/ 20940 h 304070"/>
                  <a:gd name="connsiteX46" fmla="*/ 57027 w 244231"/>
                  <a:gd name="connsiteY46" fmla="*/ 5124 h 304070"/>
                  <a:gd name="connsiteX47" fmla="*/ 54131 w 244231"/>
                  <a:gd name="connsiteY47" fmla="*/ 2896 h 304070"/>
                  <a:gd name="connsiteX48" fmla="*/ 54131 w 244231"/>
                  <a:gd name="connsiteY48" fmla="*/ 2896 h 304070"/>
                  <a:gd name="connsiteX49" fmla="*/ 53018 w 244231"/>
                  <a:gd name="connsiteY49" fmla="*/ 2450 h 304070"/>
                  <a:gd name="connsiteX50" fmla="*/ 52126 w 244231"/>
                  <a:gd name="connsiteY50" fmla="*/ 2005 h 304070"/>
                  <a:gd name="connsiteX51" fmla="*/ 51681 w 244231"/>
                  <a:gd name="connsiteY51" fmla="*/ 1782 h 304070"/>
                  <a:gd name="connsiteX52" fmla="*/ 41211 w 244231"/>
                  <a:gd name="connsiteY52" fmla="*/ 0 h 304070"/>
                  <a:gd name="connsiteX53" fmla="*/ 40543 w 244231"/>
                  <a:gd name="connsiteY53" fmla="*/ 0 h 304070"/>
                  <a:gd name="connsiteX54" fmla="*/ 40320 w 244231"/>
                  <a:gd name="connsiteY54" fmla="*/ 0 h 304070"/>
                  <a:gd name="connsiteX55" fmla="*/ 30741 w 244231"/>
                  <a:gd name="connsiteY55" fmla="*/ 0 h 304070"/>
                  <a:gd name="connsiteX56" fmla="*/ 21385 w 244231"/>
                  <a:gd name="connsiteY56" fmla="*/ 0 h 304070"/>
                  <a:gd name="connsiteX57" fmla="*/ 21162 w 244231"/>
                  <a:gd name="connsiteY57" fmla="*/ 0 h 304070"/>
                  <a:gd name="connsiteX58" fmla="*/ 20049 w 244231"/>
                  <a:gd name="connsiteY58" fmla="*/ 0 h 304070"/>
                  <a:gd name="connsiteX59" fmla="*/ 8465 w 244231"/>
                  <a:gd name="connsiteY59" fmla="*/ 2673 h 304070"/>
                  <a:gd name="connsiteX60" fmla="*/ 8019 w 244231"/>
                  <a:gd name="connsiteY60" fmla="*/ 2896 h 304070"/>
                  <a:gd name="connsiteX61" fmla="*/ 8019 w 244231"/>
                  <a:gd name="connsiteY61" fmla="*/ 2896 h 304070"/>
                  <a:gd name="connsiteX62" fmla="*/ 2450 w 244231"/>
                  <a:gd name="connsiteY62" fmla="*/ 8910 h 304070"/>
                  <a:gd name="connsiteX63" fmla="*/ 2005 w 244231"/>
                  <a:gd name="connsiteY63" fmla="*/ 9802 h 304070"/>
                  <a:gd name="connsiteX64" fmla="*/ 2005 w 244231"/>
                  <a:gd name="connsiteY64" fmla="*/ 9802 h 304070"/>
                  <a:gd name="connsiteX65" fmla="*/ 0 w 244231"/>
                  <a:gd name="connsiteY65" fmla="*/ 20049 h 304070"/>
                  <a:gd name="connsiteX66" fmla="*/ 0 w 244231"/>
                  <a:gd name="connsiteY66" fmla="*/ 20494 h 304070"/>
                  <a:gd name="connsiteX67" fmla="*/ 0 w 244231"/>
                  <a:gd name="connsiteY67" fmla="*/ 21385 h 304070"/>
                  <a:gd name="connsiteX68" fmla="*/ 0 w 244231"/>
                  <a:gd name="connsiteY68" fmla="*/ 55691 h 304070"/>
                  <a:gd name="connsiteX69" fmla="*/ 0 w 244231"/>
                  <a:gd name="connsiteY69" fmla="*/ 77299 h 304070"/>
                  <a:gd name="connsiteX70" fmla="*/ 0 w 244231"/>
                  <a:gd name="connsiteY70" fmla="*/ 180215 h 304070"/>
                  <a:gd name="connsiteX71" fmla="*/ 668 w 244231"/>
                  <a:gd name="connsiteY71" fmla="*/ 198481 h 304070"/>
                  <a:gd name="connsiteX72" fmla="*/ 2228 w 244231"/>
                  <a:gd name="connsiteY72" fmla="*/ 208728 h 304070"/>
                  <a:gd name="connsiteX73" fmla="*/ 100911 w 244231"/>
                  <a:gd name="connsiteY73" fmla="*/ 302734 h 304070"/>
                  <a:gd name="connsiteX74" fmla="*/ 102025 w 244231"/>
                  <a:gd name="connsiteY74" fmla="*/ 302957 h 304070"/>
                  <a:gd name="connsiteX75" fmla="*/ 104030 w 244231"/>
                  <a:gd name="connsiteY75" fmla="*/ 303180 h 304070"/>
                  <a:gd name="connsiteX76" fmla="*/ 104698 w 244231"/>
                  <a:gd name="connsiteY76" fmla="*/ 303180 h 304070"/>
                  <a:gd name="connsiteX77" fmla="*/ 117619 w 244231"/>
                  <a:gd name="connsiteY77" fmla="*/ 304071 h 304070"/>
                  <a:gd name="connsiteX78" fmla="*/ 120292 w 244231"/>
                  <a:gd name="connsiteY78" fmla="*/ 304071 h 304070"/>
                  <a:gd name="connsiteX79" fmla="*/ 120960 w 244231"/>
                  <a:gd name="connsiteY79" fmla="*/ 304071 h 304070"/>
                  <a:gd name="connsiteX80" fmla="*/ 122074 w 244231"/>
                  <a:gd name="connsiteY80" fmla="*/ 304071 h 304070"/>
                  <a:gd name="connsiteX81" fmla="*/ 123188 w 244231"/>
                  <a:gd name="connsiteY81" fmla="*/ 304071 h 304070"/>
                  <a:gd name="connsiteX82" fmla="*/ 123856 w 244231"/>
                  <a:gd name="connsiteY82" fmla="*/ 304071 h 304070"/>
                  <a:gd name="connsiteX83" fmla="*/ 126529 w 244231"/>
                  <a:gd name="connsiteY83" fmla="*/ 304071 h 304070"/>
                  <a:gd name="connsiteX84" fmla="*/ 139449 w 244231"/>
                  <a:gd name="connsiteY84" fmla="*/ 303180 h 304070"/>
                  <a:gd name="connsiteX85" fmla="*/ 140118 w 244231"/>
                  <a:gd name="connsiteY85" fmla="*/ 303180 h 304070"/>
                  <a:gd name="connsiteX86" fmla="*/ 142122 w 244231"/>
                  <a:gd name="connsiteY86" fmla="*/ 302957 h 304070"/>
                  <a:gd name="connsiteX87" fmla="*/ 143236 w 244231"/>
                  <a:gd name="connsiteY87" fmla="*/ 302734 h 304070"/>
                  <a:gd name="connsiteX88" fmla="*/ 241920 w 244231"/>
                  <a:gd name="connsiteY88" fmla="*/ 208728 h 304070"/>
                  <a:gd name="connsiteX89" fmla="*/ 243479 w 244231"/>
                  <a:gd name="connsiteY89" fmla="*/ 198481 h 304070"/>
                  <a:gd name="connsiteX90" fmla="*/ 244148 w 244231"/>
                  <a:gd name="connsiteY90" fmla="*/ 180215 h 304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244231" h="304070">
                    <a:moveTo>
                      <a:pt x="244148" y="180215"/>
                    </a:moveTo>
                    <a:cubicBezTo>
                      <a:pt x="244148" y="145909"/>
                      <a:pt x="244148" y="111604"/>
                      <a:pt x="244148" y="77299"/>
                    </a:cubicBezTo>
                    <a:cubicBezTo>
                      <a:pt x="244148" y="70170"/>
                      <a:pt x="244148" y="62819"/>
                      <a:pt x="244148" y="55691"/>
                    </a:cubicBezTo>
                    <a:cubicBezTo>
                      <a:pt x="244148" y="44330"/>
                      <a:pt x="244148" y="32746"/>
                      <a:pt x="244148" y="21385"/>
                    </a:cubicBezTo>
                    <a:cubicBezTo>
                      <a:pt x="244148" y="21162"/>
                      <a:pt x="244148" y="20717"/>
                      <a:pt x="244148" y="20494"/>
                    </a:cubicBezTo>
                    <a:cubicBezTo>
                      <a:pt x="244148" y="20271"/>
                      <a:pt x="244148" y="20049"/>
                      <a:pt x="244148" y="20049"/>
                    </a:cubicBezTo>
                    <a:cubicBezTo>
                      <a:pt x="244148" y="16039"/>
                      <a:pt x="243479" y="12475"/>
                      <a:pt x="242143" y="9802"/>
                    </a:cubicBezTo>
                    <a:cubicBezTo>
                      <a:pt x="242143" y="9802"/>
                      <a:pt x="242143" y="9802"/>
                      <a:pt x="242143" y="9802"/>
                    </a:cubicBezTo>
                    <a:cubicBezTo>
                      <a:pt x="241920" y="9579"/>
                      <a:pt x="241920" y="9133"/>
                      <a:pt x="241697" y="8910"/>
                    </a:cubicBezTo>
                    <a:cubicBezTo>
                      <a:pt x="240361" y="6237"/>
                      <a:pt x="238579" y="4233"/>
                      <a:pt x="236128" y="2896"/>
                    </a:cubicBezTo>
                    <a:cubicBezTo>
                      <a:pt x="236128" y="2896"/>
                      <a:pt x="236128" y="2896"/>
                      <a:pt x="236128" y="2896"/>
                    </a:cubicBezTo>
                    <a:cubicBezTo>
                      <a:pt x="235905" y="2896"/>
                      <a:pt x="235905" y="2673"/>
                      <a:pt x="235683" y="2673"/>
                    </a:cubicBezTo>
                    <a:cubicBezTo>
                      <a:pt x="232564" y="891"/>
                      <a:pt x="228777" y="0"/>
                      <a:pt x="224099" y="0"/>
                    </a:cubicBezTo>
                    <a:lnTo>
                      <a:pt x="222985" y="0"/>
                    </a:lnTo>
                    <a:cubicBezTo>
                      <a:pt x="222985" y="0"/>
                      <a:pt x="222762" y="0"/>
                      <a:pt x="222762" y="0"/>
                    </a:cubicBezTo>
                    <a:lnTo>
                      <a:pt x="213406" y="0"/>
                    </a:lnTo>
                    <a:lnTo>
                      <a:pt x="203828" y="0"/>
                    </a:lnTo>
                    <a:cubicBezTo>
                      <a:pt x="203828" y="0"/>
                      <a:pt x="203605" y="0"/>
                      <a:pt x="203605" y="0"/>
                    </a:cubicBezTo>
                    <a:lnTo>
                      <a:pt x="202937" y="0"/>
                    </a:lnTo>
                    <a:cubicBezTo>
                      <a:pt x="198927" y="0"/>
                      <a:pt x="195363" y="668"/>
                      <a:pt x="192467" y="1782"/>
                    </a:cubicBezTo>
                    <a:cubicBezTo>
                      <a:pt x="192244" y="1782"/>
                      <a:pt x="192244" y="1782"/>
                      <a:pt x="192021" y="2005"/>
                    </a:cubicBezTo>
                    <a:cubicBezTo>
                      <a:pt x="191798" y="2228"/>
                      <a:pt x="191576" y="2228"/>
                      <a:pt x="191130" y="2450"/>
                    </a:cubicBezTo>
                    <a:cubicBezTo>
                      <a:pt x="190685" y="2673"/>
                      <a:pt x="190462" y="2896"/>
                      <a:pt x="190016" y="2896"/>
                    </a:cubicBezTo>
                    <a:cubicBezTo>
                      <a:pt x="190016" y="2896"/>
                      <a:pt x="190016" y="2896"/>
                      <a:pt x="190016" y="2896"/>
                    </a:cubicBezTo>
                    <a:cubicBezTo>
                      <a:pt x="188903" y="3564"/>
                      <a:pt x="188012" y="4233"/>
                      <a:pt x="187120" y="5124"/>
                    </a:cubicBezTo>
                    <a:cubicBezTo>
                      <a:pt x="183556" y="8688"/>
                      <a:pt x="181774" y="13811"/>
                      <a:pt x="181774" y="20940"/>
                    </a:cubicBezTo>
                    <a:cubicBezTo>
                      <a:pt x="181774" y="40543"/>
                      <a:pt x="181774" y="60146"/>
                      <a:pt x="181774" y="79749"/>
                    </a:cubicBezTo>
                    <a:cubicBezTo>
                      <a:pt x="181774" y="115614"/>
                      <a:pt x="181997" y="151256"/>
                      <a:pt x="181774" y="187120"/>
                    </a:cubicBezTo>
                    <a:cubicBezTo>
                      <a:pt x="181774" y="190239"/>
                      <a:pt x="181551" y="193358"/>
                      <a:pt x="181106" y="196254"/>
                    </a:cubicBezTo>
                    <a:cubicBezTo>
                      <a:pt x="181106" y="196477"/>
                      <a:pt x="181106" y="196922"/>
                      <a:pt x="180883" y="197145"/>
                    </a:cubicBezTo>
                    <a:cubicBezTo>
                      <a:pt x="179547" y="203605"/>
                      <a:pt x="177987" y="209842"/>
                      <a:pt x="175314" y="215634"/>
                    </a:cubicBezTo>
                    <a:cubicBezTo>
                      <a:pt x="172195" y="222317"/>
                      <a:pt x="167740" y="228332"/>
                      <a:pt x="162171" y="233901"/>
                    </a:cubicBezTo>
                    <a:cubicBezTo>
                      <a:pt x="158384" y="237688"/>
                      <a:pt x="153929" y="240361"/>
                      <a:pt x="149474" y="242588"/>
                    </a:cubicBezTo>
                    <a:cubicBezTo>
                      <a:pt x="149251" y="242588"/>
                      <a:pt x="149028" y="242811"/>
                      <a:pt x="148805" y="242811"/>
                    </a:cubicBezTo>
                    <a:cubicBezTo>
                      <a:pt x="141231" y="246153"/>
                      <a:pt x="132766" y="247489"/>
                      <a:pt x="124079" y="247712"/>
                    </a:cubicBezTo>
                    <a:cubicBezTo>
                      <a:pt x="123410" y="247712"/>
                      <a:pt x="122742" y="247712"/>
                      <a:pt x="122074" y="247712"/>
                    </a:cubicBezTo>
                    <a:cubicBezTo>
                      <a:pt x="121406" y="247712"/>
                      <a:pt x="120737" y="247712"/>
                      <a:pt x="120069" y="247712"/>
                    </a:cubicBezTo>
                    <a:cubicBezTo>
                      <a:pt x="111381" y="247489"/>
                      <a:pt x="102916" y="246153"/>
                      <a:pt x="95342" y="242811"/>
                    </a:cubicBezTo>
                    <a:cubicBezTo>
                      <a:pt x="95120" y="242811"/>
                      <a:pt x="94897" y="242588"/>
                      <a:pt x="94674" y="242588"/>
                    </a:cubicBezTo>
                    <a:cubicBezTo>
                      <a:pt x="89996" y="240583"/>
                      <a:pt x="85764" y="237688"/>
                      <a:pt x="81977" y="233901"/>
                    </a:cubicBezTo>
                    <a:cubicBezTo>
                      <a:pt x="76408" y="228332"/>
                      <a:pt x="71952" y="222317"/>
                      <a:pt x="68834" y="215634"/>
                    </a:cubicBezTo>
                    <a:cubicBezTo>
                      <a:pt x="66383" y="209842"/>
                      <a:pt x="64601" y="203605"/>
                      <a:pt x="63265" y="197145"/>
                    </a:cubicBezTo>
                    <a:cubicBezTo>
                      <a:pt x="63265" y="196922"/>
                      <a:pt x="63265" y="196477"/>
                      <a:pt x="63042" y="196254"/>
                    </a:cubicBezTo>
                    <a:cubicBezTo>
                      <a:pt x="62596" y="193358"/>
                      <a:pt x="62373" y="190239"/>
                      <a:pt x="62373" y="187120"/>
                    </a:cubicBezTo>
                    <a:cubicBezTo>
                      <a:pt x="62151" y="151256"/>
                      <a:pt x="62373" y="115614"/>
                      <a:pt x="62373" y="79749"/>
                    </a:cubicBezTo>
                    <a:cubicBezTo>
                      <a:pt x="62373" y="60146"/>
                      <a:pt x="62373" y="40543"/>
                      <a:pt x="62373" y="20940"/>
                    </a:cubicBezTo>
                    <a:cubicBezTo>
                      <a:pt x="62373" y="14034"/>
                      <a:pt x="60591" y="8688"/>
                      <a:pt x="57027" y="5124"/>
                    </a:cubicBezTo>
                    <a:cubicBezTo>
                      <a:pt x="56136" y="4233"/>
                      <a:pt x="55245" y="3564"/>
                      <a:pt x="54131" y="2896"/>
                    </a:cubicBezTo>
                    <a:cubicBezTo>
                      <a:pt x="54131" y="2896"/>
                      <a:pt x="54131" y="2896"/>
                      <a:pt x="54131" y="2896"/>
                    </a:cubicBezTo>
                    <a:cubicBezTo>
                      <a:pt x="53909" y="2673"/>
                      <a:pt x="53463" y="2450"/>
                      <a:pt x="53018" y="2450"/>
                    </a:cubicBezTo>
                    <a:cubicBezTo>
                      <a:pt x="52795" y="2228"/>
                      <a:pt x="52572" y="2228"/>
                      <a:pt x="52126" y="2005"/>
                    </a:cubicBezTo>
                    <a:cubicBezTo>
                      <a:pt x="52126" y="2005"/>
                      <a:pt x="51904" y="2005"/>
                      <a:pt x="51681" y="1782"/>
                    </a:cubicBezTo>
                    <a:cubicBezTo>
                      <a:pt x="48785" y="446"/>
                      <a:pt x="45221" y="0"/>
                      <a:pt x="41211" y="0"/>
                    </a:cubicBezTo>
                    <a:lnTo>
                      <a:pt x="40543" y="0"/>
                    </a:lnTo>
                    <a:cubicBezTo>
                      <a:pt x="40543" y="0"/>
                      <a:pt x="40320" y="0"/>
                      <a:pt x="40320" y="0"/>
                    </a:cubicBezTo>
                    <a:lnTo>
                      <a:pt x="30741" y="0"/>
                    </a:lnTo>
                    <a:lnTo>
                      <a:pt x="21385" y="0"/>
                    </a:lnTo>
                    <a:cubicBezTo>
                      <a:pt x="21385" y="0"/>
                      <a:pt x="21162" y="0"/>
                      <a:pt x="21162" y="0"/>
                    </a:cubicBezTo>
                    <a:lnTo>
                      <a:pt x="20049" y="0"/>
                    </a:lnTo>
                    <a:cubicBezTo>
                      <a:pt x="15371" y="0"/>
                      <a:pt x="11361" y="891"/>
                      <a:pt x="8465" y="2673"/>
                    </a:cubicBezTo>
                    <a:cubicBezTo>
                      <a:pt x="8242" y="2673"/>
                      <a:pt x="8242" y="2896"/>
                      <a:pt x="8019" y="2896"/>
                    </a:cubicBezTo>
                    <a:cubicBezTo>
                      <a:pt x="8019" y="2896"/>
                      <a:pt x="8019" y="2896"/>
                      <a:pt x="8019" y="2896"/>
                    </a:cubicBezTo>
                    <a:cubicBezTo>
                      <a:pt x="5569" y="4455"/>
                      <a:pt x="3787" y="6460"/>
                      <a:pt x="2450" y="8910"/>
                    </a:cubicBezTo>
                    <a:cubicBezTo>
                      <a:pt x="2228" y="9133"/>
                      <a:pt x="2228" y="9579"/>
                      <a:pt x="2005" y="9802"/>
                    </a:cubicBezTo>
                    <a:cubicBezTo>
                      <a:pt x="2005" y="9802"/>
                      <a:pt x="2005" y="9802"/>
                      <a:pt x="2005" y="9802"/>
                    </a:cubicBezTo>
                    <a:cubicBezTo>
                      <a:pt x="668" y="12697"/>
                      <a:pt x="0" y="16039"/>
                      <a:pt x="0" y="20049"/>
                    </a:cubicBezTo>
                    <a:cubicBezTo>
                      <a:pt x="0" y="20271"/>
                      <a:pt x="0" y="20494"/>
                      <a:pt x="0" y="20494"/>
                    </a:cubicBezTo>
                    <a:cubicBezTo>
                      <a:pt x="0" y="20717"/>
                      <a:pt x="0" y="20940"/>
                      <a:pt x="0" y="21385"/>
                    </a:cubicBezTo>
                    <a:cubicBezTo>
                      <a:pt x="0" y="32746"/>
                      <a:pt x="0" y="44330"/>
                      <a:pt x="0" y="55691"/>
                    </a:cubicBezTo>
                    <a:cubicBezTo>
                      <a:pt x="0" y="62819"/>
                      <a:pt x="0" y="70170"/>
                      <a:pt x="0" y="77299"/>
                    </a:cubicBezTo>
                    <a:cubicBezTo>
                      <a:pt x="0" y="111604"/>
                      <a:pt x="0" y="145909"/>
                      <a:pt x="0" y="180215"/>
                    </a:cubicBezTo>
                    <a:cubicBezTo>
                      <a:pt x="0" y="186229"/>
                      <a:pt x="0" y="192467"/>
                      <a:pt x="668" y="198481"/>
                    </a:cubicBezTo>
                    <a:cubicBezTo>
                      <a:pt x="1114" y="202046"/>
                      <a:pt x="1559" y="205387"/>
                      <a:pt x="2228" y="208728"/>
                    </a:cubicBezTo>
                    <a:cubicBezTo>
                      <a:pt x="11138" y="259741"/>
                      <a:pt x="50790" y="296051"/>
                      <a:pt x="100911" y="302734"/>
                    </a:cubicBezTo>
                    <a:cubicBezTo>
                      <a:pt x="101357" y="302734"/>
                      <a:pt x="101580" y="302734"/>
                      <a:pt x="102025" y="302957"/>
                    </a:cubicBezTo>
                    <a:cubicBezTo>
                      <a:pt x="102694" y="302957"/>
                      <a:pt x="103362" y="303180"/>
                      <a:pt x="104030" y="303180"/>
                    </a:cubicBezTo>
                    <a:cubicBezTo>
                      <a:pt x="104253" y="303180"/>
                      <a:pt x="104476" y="303180"/>
                      <a:pt x="104698" y="303180"/>
                    </a:cubicBezTo>
                    <a:cubicBezTo>
                      <a:pt x="108931" y="303625"/>
                      <a:pt x="113163" y="303848"/>
                      <a:pt x="117619" y="304071"/>
                    </a:cubicBezTo>
                    <a:cubicBezTo>
                      <a:pt x="118510" y="304071"/>
                      <a:pt x="119401" y="304071"/>
                      <a:pt x="120292" y="304071"/>
                    </a:cubicBezTo>
                    <a:cubicBezTo>
                      <a:pt x="120515" y="304071"/>
                      <a:pt x="120737" y="304071"/>
                      <a:pt x="120960" y="304071"/>
                    </a:cubicBezTo>
                    <a:cubicBezTo>
                      <a:pt x="121406" y="304071"/>
                      <a:pt x="121628" y="304071"/>
                      <a:pt x="122074" y="304071"/>
                    </a:cubicBezTo>
                    <a:cubicBezTo>
                      <a:pt x="122519" y="304071"/>
                      <a:pt x="122742" y="304071"/>
                      <a:pt x="123188" y="304071"/>
                    </a:cubicBezTo>
                    <a:cubicBezTo>
                      <a:pt x="123410" y="304071"/>
                      <a:pt x="123633" y="304071"/>
                      <a:pt x="123856" y="304071"/>
                    </a:cubicBezTo>
                    <a:cubicBezTo>
                      <a:pt x="124747" y="304071"/>
                      <a:pt x="125638" y="304071"/>
                      <a:pt x="126529" y="304071"/>
                    </a:cubicBezTo>
                    <a:cubicBezTo>
                      <a:pt x="130984" y="304071"/>
                      <a:pt x="135217" y="303625"/>
                      <a:pt x="139449" y="303180"/>
                    </a:cubicBezTo>
                    <a:cubicBezTo>
                      <a:pt x="139672" y="303180"/>
                      <a:pt x="139895" y="303180"/>
                      <a:pt x="140118" y="303180"/>
                    </a:cubicBezTo>
                    <a:cubicBezTo>
                      <a:pt x="140786" y="303180"/>
                      <a:pt x="141454" y="302957"/>
                      <a:pt x="142122" y="302957"/>
                    </a:cubicBezTo>
                    <a:cubicBezTo>
                      <a:pt x="142568" y="302957"/>
                      <a:pt x="143014" y="302957"/>
                      <a:pt x="143236" y="302734"/>
                    </a:cubicBezTo>
                    <a:cubicBezTo>
                      <a:pt x="193358" y="296051"/>
                      <a:pt x="233010" y="259741"/>
                      <a:pt x="241920" y="208728"/>
                    </a:cubicBezTo>
                    <a:cubicBezTo>
                      <a:pt x="242588" y="205387"/>
                      <a:pt x="243034" y="202046"/>
                      <a:pt x="243479" y="198481"/>
                    </a:cubicBezTo>
                    <a:cubicBezTo>
                      <a:pt x="244148" y="192467"/>
                      <a:pt x="244370" y="186229"/>
                      <a:pt x="244148" y="180215"/>
                    </a:cubicBez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6" name="Graphic 13">
                <a:extLst>
                  <a:ext uri="{FF2B5EF4-FFF2-40B4-BE49-F238E27FC236}">
                    <a16:creationId xmlns:a16="http://schemas.microsoft.com/office/drawing/2014/main" id="{F38B9FA6-9F76-45FD-9E57-5C797032D0B7}"/>
                  </a:ext>
                </a:extLst>
              </p:cNvPr>
              <p:cNvSpPr/>
              <p:nvPr/>
            </p:nvSpPr>
            <p:spPr>
              <a:xfrm>
                <a:off x="610655" y="1130302"/>
                <a:ext cx="188725" cy="311338"/>
              </a:xfrm>
              <a:custGeom>
                <a:avLst/>
                <a:gdLst>
                  <a:gd name="connsiteX0" fmla="*/ 87157 w 188725"/>
                  <a:gd name="connsiteY0" fmla="*/ 311338 h 311338"/>
                  <a:gd name="connsiteX1" fmla="*/ 26788 w 188725"/>
                  <a:gd name="connsiteY1" fmla="*/ 297750 h 311338"/>
                  <a:gd name="connsiteX2" fmla="*/ 5403 w 188725"/>
                  <a:gd name="connsiteY2" fmla="*/ 280374 h 311338"/>
                  <a:gd name="connsiteX3" fmla="*/ 5626 w 188725"/>
                  <a:gd name="connsiteY3" fmla="*/ 252752 h 311338"/>
                  <a:gd name="connsiteX4" fmla="*/ 16987 w 188725"/>
                  <a:gd name="connsiteY4" fmla="*/ 238940 h 311338"/>
                  <a:gd name="connsiteX5" fmla="*/ 40822 w 188725"/>
                  <a:gd name="connsiteY5" fmla="*/ 235822 h 311338"/>
                  <a:gd name="connsiteX6" fmla="*/ 59757 w 188725"/>
                  <a:gd name="connsiteY6" fmla="*/ 248519 h 311338"/>
                  <a:gd name="connsiteX7" fmla="*/ 112329 w 188725"/>
                  <a:gd name="connsiteY7" fmla="*/ 249410 h 311338"/>
                  <a:gd name="connsiteX8" fmla="*/ 117453 w 188725"/>
                  <a:gd name="connsiteY8" fmla="*/ 203298 h 311338"/>
                  <a:gd name="connsiteX9" fmla="*/ 82925 w 188725"/>
                  <a:gd name="connsiteY9" fmla="*/ 182359 h 311338"/>
                  <a:gd name="connsiteX10" fmla="*/ 35031 w 188725"/>
                  <a:gd name="connsiteY10" fmla="*/ 152731 h 311338"/>
                  <a:gd name="connsiteX11" fmla="*/ 8076 w 188725"/>
                  <a:gd name="connsiteY11" fmla="*/ 65408 h 311338"/>
                  <a:gd name="connsiteX12" fmla="*/ 72009 w 188725"/>
                  <a:gd name="connsiteY12" fmla="*/ 3703 h 311338"/>
                  <a:gd name="connsiteX13" fmla="*/ 168243 w 188725"/>
                  <a:gd name="connsiteY13" fmla="*/ 22861 h 311338"/>
                  <a:gd name="connsiteX14" fmla="*/ 181386 w 188725"/>
                  <a:gd name="connsiteY14" fmla="*/ 39568 h 311338"/>
                  <a:gd name="connsiteX15" fmla="*/ 177376 w 188725"/>
                  <a:gd name="connsiteY15" fmla="*/ 57166 h 311338"/>
                  <a:gd name="connsiteX16" fmla="*/ 163119 w 188725"/>
                  <a:gd name="connsiteY16" fmla="*/ 72091 h 311338"/>
                  <a:gd name="connsiteX17" fmla="*/ 138170 w 188725"/>
                  <a:gd name="connsiteY17" fmla="*/ 72537 h 311338"/>
                  <a:gd name="connsiteX18" fmla="*/ 83147 w 188725"/>
                  <a:gd name="connsiteY18" fmla="*/ 59171 h 311338"/>
                  <a:gd name="connsiteX19" fmla="*/ 63544 w 188725"/>
                  <a:gd name="connsiteY19" fmla="*/ 80556 h 311338"/>
                  <a:gd name="connsiteX20" fmla="*/ 73123 w 188725"/>
                  <a:gd name="connsiteY20" fmla="*/ 108402 h 311338"/>
                  <a:gd name="connsiteX21" fmla="*/ 109656 w 188725"/>
                  <a:gd name="connsiteY21" fmla="*/ 129118 h 311338"/>
                  <a:gd name="connsiteX22" fmla="*/ 160669 w 188725"/>
                  <a:gd name="connsiteY22" fmla="*/ 160082 h 311338"/>
                  <a:gd name="connsiteX23" fmla="*/ 141957 w 188725"/>
                  <a:gd name="connsiteY23" fmla="*/ 298641 h 311338"/>
                  <a:gd name="connsiteX24" fmla="*/ 87157 w 188725"/>
                  <a:gd name="connsiteY24" fmla="*/ 311338 h 31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8725" h="311338">
                    <a:moveTo>
                      <a:pt x="87157" y="311338"/>
                    </a:moveTo>
                    <a:cubicBezTo>
                      <a:pt x="65326" y="310893"/>
                      <a:pt x="45055" y="308220"/>
                      <a:pt x="26788" y="297750"/>
                    </a:cubicBezTo>
                    <a:cubicBezTo>
                      <a:pt x="18769" y="293072"/>
                      <a:pt x="11418" y="287503"/>
                      <a:pt x="5403" y="280374"/>
                    </a:cubicBezTo>
                    <a:cubicBezTo>
                      <a:pt x="-1948" y="271686"/>
                      <a:pt x="-1725" y="261217"/>
                      <a:pt x="5626" y="252752"/>
                    </a:cubicBezTo>
                    <a:cubicBezTo>
                      <a:pt x="9413" y="248296"/>
                      <a:pt x="13200" y="243618"/>
                      <a:pt x="16987" y="238940"/>
                    </a:cubicBezTo>
                    <a:cubicBezTo>
                      <a:pt x="24115" y="230475"/>
                      <a:pt x="31689" y="229362"/>
                      <a:pt x="40822" y="235822"/>
                    </a:cubicBezTo>
                    <a:cubicBezTo>
                      <a:pt x="47060" y="240277"/>
                      <a:pt x="52852" y="245178"/>
                      <a:pt x="59757" y="248519"/>
                    </a:cubicBezTo>
                    <a:cubicBezTo>
                      <a:pt x="77133" y="256984"/>
                      <a:pt x="94954" y="257652"/>
                      <a:pt x="112329" y="249410"/>
                    </a:cubicBezTo>
                    <a:cubicBezTo>
                      <a:pt x="132378" y="240054"/>
                      <a:pt x="134605" y="217555"/>
                      <a:pt x="117453" y="203298"/>
                    </a:cubicBezTo>
                    <a:cubicBezTo>
                      <a:pt x="106983" y="194611"/>
                      <a:pt x="94954" y="188373"/>
                      <a:pt x="82925" y="182359"/>
                    </a:cubicBezTo>
                    <a:cubicBezTo>
                      <a:pt x="65995" y="173894"/>
                      <a:pt x="49287" y="165206"/>
                      <a:pt x="35031" y="152731"/>
                    </a:cubicBezTo>
                    <a:cubicBezTo>
                      <a:pt x="8076" y="129341"/>
                      <a:pt x="-389" y="99491"/>
                      <a:pt x="8076" y="65408"/>
                    </a:cubicBezTo>
                    <a:cubicBezTo>
                      <a:pt x="16319" y="31994"/>
                      <a:pt x="39263" y="11723"/>
                      <a:pt x="72009" y="3703"/>
                    </a:cubicBezTo>
                    <a:cubicBezTo>
                      <a:pt x="106760" y="-4985"/>
                      <a:pt x="139283" y="1698"/>
                      <a:pt x="168243" y="22861"/>
                    </a:cubicBezTo>
                    <a:cubicBezTo>
                      <a:pt x="174034" y="27093"/>
                      <a:pt x="179381" y="31994"/>
                      <a:pt x="181386" y="39568"/>
                    </a:cubicBezTo>
                    <a:cubicBezTo>
                      <a:pt x="183168" y="46251"/>
                      <a:pt x="182054" y="52043"/>
                      <a:pt x="177376" y="57166"/>
                    </a:cubicBezTo>
                    <a:cubicBezTo>
                      <a:pt x="172698" y="62290"/>
                      <a:pt x="168020" y="67191"/>
                      <a:pt x="163119" y="72091"/>
                    </a:cubicBezTo>
                    <a:cubicBezTo>
                      <a:pt x="154209" y="80779"/>
                      <a:pt x="147303" y="80779"/>
                      <a:pt x="138170" y="72537"/>
                    </a:cubicBezTo>
                    <a:cubicBezTo>
                      <a:pt x="122131" y="58280"/>
                      <a:pt x="103864" y="53379"/>
                      <a:pt x="83147" y="59171"/>
                    </a:cubicBezTo>
                    <a:cubicBezTo>
                      <a:pt x="72455" y="62067"/>
                      <a:pt x="65772" y="69641"/>
                      <a:pt x="63544" y="80556"/>
                    </a:cubicBezTo>
                    <a:cubicBezTo>
                      <a:pt x="61317" y="91472"/>
                      <a:pt x="63990" y="101050"/>
                      <a:pt x="73123" y="108402"/>
                    </a:cubicBezTo>
                    <a:cubicBezTo>
                      <a:pt x="84261" y="117312"/>
                      <a:pt x="96736" y="123549"/>
                      <a:pt x="109656" y="129118"/>
                    </a:cubicBezTo>
                    <a:cubicBezTo>
                      <a:pt x="127923" y="137361"/>
                      <a:pt x="145298" y="146939"/>
                      <a:pt x="160669" y="160082"/>
                    </a:cubicBezTo>
                    <a:cubicBezTo>
                      <a:pt x="204776" y="197507"/>
                      <a:pt x="195642" y="271018"/>
                      <a:pt x="141957" y="298641"/>
                    </a:cubicBezTo>
                    <a:cubicBezTo>
                      <a:pt x="124136" y="307551"/>
                      <a:pt x="105646" y="311338"/>
                      <a:pt x="87157" y="311338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7" name="Graphic 13">
                <a:extLst>
                  <a:ext uri="{FF2B5EF4-FFF2-40B4-BE49-F238E27FC236}">
                    <a16:creationId xmlns:a16="http://schemas.microsoft.com/office/drawing/2014/main" id="{7C16B56C-E980-42A0-9708-FB1BE82F3E22}"/>
                  </a:ext>
                </a:extLst>
              </p:cNvPr>
              <p:cNvSpPr/>
              <p:nvPr/>
            </p:nvSpPr>
            <p:spPr>
              <a:xfrm>
                <a:off x="1766651" y="1560036"/>
                <a:ext cx="188703" cy="310781"/>
              </a:xfrm>
              <a:custGeom>
                <a:avLst/>
                <a:gdLst>
                  <a:gd name="connsiteX0" fmla="*/ 99996 w 188703"/>
                  <a:gd name="connsiteY0" fmla="*/ 114 h 310781"/>
                  <a:gd name="connsiteX1" fmla="*/ 169052 w 188703"/>
                  <a:gd name="connsiteY1" fmla="*/ 23281 h 310781"/>
                  <a:gd name="connsiteX2" fmla="*/ 179076 w 188703"/>
                  <a:gd name="connsiteY2" fmla="*/ 33528 h 310781"/>
                  <a:gd name="connsiteX3" fmla="*/ 177294 w 188703"/>
                  <a:gd name="connsiteY3" fmla="*/ 56695 h 310781"/>
                  <a:gd name="connsiteX4" fmla="*/ 161032 w 188703"/>
                  <a:gd name="connsiteY4" fmla="*/ 73180 h 310781"/>
                  <a:gd name="connsiteX5" fmla="*/ 138979 w 188703"/>
                  <a:gd name="connsiteY5" fmla="*/ 72511 h 310781"/>
                  <a:gd name="connsiteX6" fmla="*/ 85516 w 188703"/>
                  <a:gd name="connsiteY6" fmla="*/ 57809 h 310781"/>
                  <a:gd name="connsiteX7" fmla="*/ 63685 w 188703"/>
                  <a:gd name="connsiteY7" fmla="*/ 78972 h 310781"/>
                  <a:gd name="connsiteX8" fmla="*/ 73932 w 188703"/>
                  <a:gd name="connsiteY8" fmla="*/ 108599 h 310781"/>
                  <a:gd name="connsiteX9" fmla="*/ 110020 w 188703"/>
                  <a:gd name="connsiteY9" fmla="*/ 128870 h 310781"/>
                  <a:gd name="connsiteX10" fmla="*/ 156800 w 188703"/>
                  <a:gd name="connsiteY10" fmla="*/ 156270 h 310781"/>
                  <a:gd name="connsiteX11" fmla="*/ 143657 w 188703"/>
                  <a:gd name="connsiteY11" fmla="*/ 297056 h 310781"/>
                  <a:gd name="connsiteX12" fmla="*/ 75492 w 188703"/>
                  <a:gd name="connsiteY12" fmla="*/ 310422 h 310781"/>
                  <a:gd name="connsiteX13" fmla="*/ 16905 w 188703"/>
                  <a:gd name="connsiteY13" fmla="*/ 291041 h 310781"/>
                  <a:gd name="connsiteX14" fmla="*/ 4876 w 188703"/>
                  <a:gd name="connsiteY14" fmla="*/ 279680 h 310781"/>
                  <a:gd name="connsiteX15" fmla="*/ 5322 w 188703"/>
                  <a:gd name="connsiteY15" fmla="*/ 252726 h 310781"/>
                  <a:gd name="connsiteX16" fmla="*/ 15791 w 188703"/>
                  <a:gd name="connsiteY16" fmla="*/ 239806 h 310781"/>
                  <a:gd name="connsiteX17" fmla="*/ 42523 w 188703"/>
                  <a:gd name="connsiteY17" fmla="*/ 236910 h 310781"/>
                  <a:gd name="connsiteX18" fmla="*/ 62126 w 188703"/>
                  <a:gd name="connsiteY18" fmla="*/ 249385 h 310781"/>
                  <a:gd name="connsiteX19" fmla="*/ 111579 w 188703"/>
                  <a:gd name="connsiteY19" fmla="*/ 249162 h 310781"/>
                  <a:gd name="connsiteX20" fmla="*/ 117594 w 188703"/>
                  <a:gd name="connsiteY20" fmla="*/ 203273 h 310781"/>
                  <a:gd name="connsiteX21" fmla="*/ 79279 w 188703"/>
                  <a:gd name="connsiteY21" fmla="*/ 180106 h 310781"/>
                  <a:gd name="connsiteX22" fmla="*/ 27152 w 188703"/>
                  <a:gd name="connsiteY22" fmla="*/ 144909 h 310781"/>
                  <a:gd name="connsiteX23" fmla="*/ 9777 w 188703"/>
                  <a:gd name="connsiteY23" fmla="*/ 58700 h 310781"/>
                  <a:gd name="connsiteX24" fmla="*/ 75714 w 188703"/>
                  <a:gd name="connsiteY24" fmla="*/ 2341 h 310781"/>
                  <a:gd name="connsiteX25" fmla="*/ 99996 w 188703"/>
                  <a:gd name="connsiteY25" fmla="*/ 114 h 31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8703" h="310781">
                    <a:moveTo>
                      <a:pt x="99996" y="114"/>
                    </a:moveTo>
                    <a:cubicBezTo>
                      <a:pt x="125613" y="-555"/>
                      <a:pt x="148335" y="8133"/>
                      <a:pt x="169052" y="23281"/>
                    </a:cubicBezTo>
                    <a:cubicBezTo>
                      <a:pt x="172839" y="26177"/>
                      <a:pt x="176626" y="29296"/>
                      <a:pt x="179076" y="33528"/>
                    </a:cubicBezTo>
                    <a:cubicBezTo>
                      <a:pt x="183532" y="41547"/>
                      <a:pt x="183309" y="50235"/>
                      <a:pt x="177294" y="56695"/>
                    </a:cubicBezTo>
                    <a:cubicBezTo>
                      <a:pt x="172171" y="62487"/>
                      <a:pt x="166824" y="68279"/>
                      <a:pt x="161032" y="73180"/>
                    </a:cubicBezTo>
                    <a:cubicBezTo>
                      <a:pt x="153013" y="80085"/>
                      <a:pt x="146776" y="79640"/>
                      <a:pt x="138979" y="72511"/>
                    </a:cubicBezTo>
                    <a:cubicBezTo>
                      <a:pt x="123608" y="58477"/>
                      <a:pt x="106010" y="53354"/>
                      <a:pt x="85516" y="57809"/>
                    </a:cubicBezTo>
                    <a:cubicBezTo>
                      <a:pt x="73932" y="60259"/>
                      <a:pt x="66581" y="67388"/>
                      <a:pt x="63685" y="78972"/>
                    </a:cubicBezTo>
                    <a:cubicBezTo>
                      <a:pt x="60567" y="91001"/>
                      <a:pt x="64131" y="101025"/>
                      <a:pt x="73932" y="108599"/>
                    </a:cubicBezTo>
                    <a:cubicBezTo>
                      <a:pt x="84848" y="117287"/>
                      <a:pt x="97322" y="123301"/>
                      <a:pt x="110020" y="128870"/>
                    </a:cubicBezTo>
                    <a:cubicBezTo>
                      <a:pt x="126727" y="136221"/>
                      <a:pt x="142320" y="145132"/>
                      <a:pt x="156800" y="156270"/>
                    </a:cubicBezTo>
                    <a:cubicBezTo>
                      <a:pt x="205585" y="194140"/>
                      <a:pt x="196229" y="268765"/>
                      <a:pt x="143657" y="297056"/>
                    </a:cubicBezTo>
                    <a:cubicBezTo>
                      <a:pt x="122272" y="308640"/>
                      <a:pt x="99550" y="311981"/>
                      <a:pt x="75492" y="310422"/>
                    </a:cubicBezTo>
                    <a:cubicBezTo>
                      <a:pt x="54106" y="309085"/>
                      <a:pt x="34281" y="303962"/>
                      <a:pt x="16905" y="291041"/>
                    </a:cubicBezTo>
                    <a:cubicBezTo>
                      <a:pt x="12450" y="287700"/>
                      <a:pt x="8440" y="283913"/>
                      <a:pt x="4876" y="279680"/>
                    </a:cubicBezTo>
                    <a:cubicBezTo>
                      <a:pt x="-1807" y="271438"/>
                      <a:pt x="-1584" y="260968"/>
                      <a:pt x="5322" y="252726"/>
                    </a:cubicBezTo>
                    <a:cubicBezTo>
                      <a:pt x="8886" y="248494"/>
                      <a:pt x="12450" y="244038"/>
                      <a:pt x="15791" y="239806"/>
                    </a:cubicBezTo>
                    <a:cubicBezTo>
                      <a:pt x="24256" y="229559"/>
                      <a:pt x="32053" y="228668"/>
                      <a:pt x="42523" y="236910"/>
                    </a:cubicBezTo>
                    <a:cubicBezTo>
                      <a:pt x="48760" y="241588"/>
                      <a:pt x="54998" y="246266"/>
                      <a:pt x="62126" y="249385"/>
                    </a:cubicBezTo>
                    <a:cubicBezTo>
                      <a:pt x="78610" y="256513"/>
                      <a:pt x="95318" y="256736"/>
                      <a:pt x="111579" y="249162"/>
                    </a:cubicBezTo>
                    <a:cubicBezTo>
                      <a:pt x="131851" y="239806"/>
                      <a:pt x="134524" y="217752"/>
                      <a:pt x="117594" y="203273"/>
                    </a:cubicBezTo>
                    <a:cubicBezTo>
                      <a:pt x="106010" y="193471"/>
                      <a:pt x="92644" y="186788"/>
                      <a:pt x="79279" y="180106"/>
                    </a:cubicBezTo>
                    <a:cubicBezTo>
                      <a:pt x="60344" y="170527"/>
                      <a:pt x="41855" y="160503"/>
                      <a:pt x="27152" y="144909"/>
                    </a:cubicBezTo>
                    <a:cubicBezTo>
                      <a:pt x="3985" y="119737"/>
                      <a:pt x="-693" y="90110"/>
                      <a:pt x="9777" y="58700"/>
                    </a:cubicBezTo>
                    <a:cubicBezTo>
                      <a:pt x="20247" y="27068"/>
                      <a:pt x="43859" y="9470"/>
                      <a:pt x="75714" y="2341"/>
                    </a:cubicBezTo>
                    <a:cubicBezTo>
                      <a:pt x="83511" y="559"/>
                      <a:pt x="91753" y="-332"/>
                      <a:pt x="99996" y="114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8" name="Graphic 13">
                <a:extLst>
                  <a:ext uri="{FF2B5EF4-FFF2-40B4-BE49-F238E27FC236}">
                    <a16:creationId xmlns:a16="http://schemas.microsoft.com/office/drawing/2014/main" id="{B4300137-3940-44E8-BCBF-DBB6183598DC}"/>
                  </a:ext>
                </a:extLst>
              </p:cNvPr>
              <p:cNvSpPr/>
              <p:nvPr/>
            </p:nvSpPr>
            <p:spPr>
              <a:xfrm>
                <a:off x="1807515" y="1137089"/>
                <a:ext cx="149294" cy="297867"/>
              </a:xfrm>
              <a:custGeom>
                <a:avLst/>
                <a:gdLst>
                  <a:gd name="connsiteX0" fmla="*/ 322 w 149294"/>
                  <a:gd name="connsiteY0" fmla="*/ 189828 h 297867"/>
                  <a:gd name="connsiteX1" fmla="*/ 545 w 149294"/>
                  <a:gd name="connsiteY1" fmla="*/ 102505 h 297867"/>
                  <a:gd name="connsiteX2" fmla="*/ 33959 w 149294"/>
                  <a:gd name="connsiteY2" fmla="*/ 24761 h 297867"/>
                  <a:gd name="connsiteX3" fmla="*/ 100119 w 149294"/>
                  <a:gd name="connsiteY3" fmla="*/ 257 h 297867"/>
                  <a:gd name="connsiteX4" fmla="*/ 129524 w 149294"/>
                  <a:gd name="connsiteY4" fmla="*/ 257 h 297867"/>
                  <a:gd name="connsiteX5" fmla="*/ 149127 w 149294"/>
                  <a:gd name="connsiteY5" fmla="*/ 19415 h 297867"/>
                  <a:gd name="connsiteX6" fmla="*/ 149127 w 149294"/>
                  <a:gd name="connsiteY6" fmla="*/ 37236 h 297867"/>
                  <a:gd name="connsiteX7" fmla="*/ 129524 w 149294"/>
                  <a:gd name="connsiteY7" fmla="*/ 56616 h 297867"/>
                  <a:gd name="connsiteX8" fmla="*/ 109030 w 149294"/>
                  <a:gd name="connsiteY8" fmla="*/ 56616 h 297867"/>
                  <a:gd name="connsiteX9" fmla="*/ 61136 w 149294"/>
                  <a:gd name="connsiteY9" fmla="*/ 97382 h 297867"/>
                  <a:gd name="connsiteX10" fmla="*/ 59799 w 149294"/>
                  <a:gd name="connsiteY10" fmla="*/ 117208 h 297867"/>
                  <a:gd name="connsiteX11" fmla="*/ 59799 w 149294"/>
                  <a:gd name="connsiteY11" fmla="*/ 276260 h 297867"/>
                  <a:gd name="connsiteX12" fmla="*/ 38191 w 149294"/>
                  <a:gd name="connsiteY12" fmla="*/ 297868 h 297867"/>
                  <a:gd name="connsiteX13" fmla="*/ 20370 w 149294"/>
                  <a:gd name="connsiteY13" fmla="*/ 297868 h 297867"/>
                  <a:gd name="connsiteX14" fmla="*/ 99 w 149294"/>
                  <a:gd name="connsiteY14" fmla="*/ 278042 h 297867"/>
                  <a:gd name="connsiteX15" fmla="*/ 99 w 149294"/>
                  <a:gd name="connsiteY15" fmla="*/ 246855 h 297867"/>
                  <a:gd name="connsiteX16" fmla="*/ 99 w 149294"/>
                  <a:gd name="connsiteY16" fmla="*/ 189605 h 297867"/>
                  <a:gd name="connsiteX17" fmla="*/ 322 w 149294"/>
                  <a:gd name="connsiteY17" fmla="*/ 189605 h 29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9294" h="297867">
                    <a:moveTo>
                      <a:pt x="322" y="189828"/>
                    </a:moveTo>
                    <a:cubicBezTo>
                      <a:pt x="322" y="160646"/>
                      <a:pt x="-347" y="131687"/>
                      <a:pt x="545" y="102505"/>
                    </a:cubicBezTo>
                    <a:cubicBezTo>
                      <a:pt x="1213" y="72432"/>
                      <a:pt x="11237" y="45478"/>
                      <a:pt x="33959" y="24761"/>
                    </a:cubicBezTo>
                    <a:cubicBezTo>
                      <a:pt x="52671" y="7608"/>
                      <a:pt x="75393" y="1148"/>
                      <a:pt x="100119" y="257"/>
                    </a:cubicBezTo>
                    <a:cubicBezTo>
                      <a:pt x="109921" y="-188"/>
                      <a:pt x="119723" y="34"/>
                      <a:pt x="129524" y="257"/>
                    </a:cubicBezTo>
                    <a:cubicBezTo>
                      <a:pt x="141776" y="257"/>
                      <a:pt x="148904" y="7163"/>
                      <a:pt x="149127" y="19415"/>
                    </a:cubicBezTo>
                    <a:cubicBezTo>
                      <a:pt x="149350" y="25429"/>
                      <a:pt x="149350" y="31221"/>
                      <a:pt x="149127" y="37236"/>
                    </a:cubicBezTo>
                    <a:cubicBezTo>
                      <a:pt x="148682" y="49488"/>
                      <a:pt x="141999" y="56393"/>
                      <a:pt x="129524" y="56616"/>
                    </a:cubicBezTo>
                    <a:cubicBezTo>
                      <a:pt x="122618" y="56839"/>
                      <a:pt x="115713" y="56616"/>
                      <a:pt x="109030" y="56616"/>
                    </a:cubicBezTo>
                    <a:cubicBezTo>
                      <a:pt x="82521" y="56616"/>
                      <a:pt x="65591" y="71096"/>
                      <a:pt x="61136" y="97382"/>
                    </a:cubicBezTo>
                    <a:cubicBezTo>
                      <a:pt x="60022" y="104065"/>
                      <a:pt x="59799" y="110747"/>
                      <a:pt x="59799" y="117208"/>
                    </a:cubicBezTo>
                    <a:cubicBezTo>
                      <a:pt x="59799" y="170225"/>
                      <a:pt x="59799" y="223242"/>
                      <a:pt x="59799" y="276260"/>
                    </a:cubicBezTo>
                    <a:cubicBezTo>
                      <a:pt x="59799" y="291408"/>
                      <a:pt x="53116" y="297868"/>
                      <a:pt x="38191" y="297868"/>
                    </a:cubicBezTo>
                    <a:cubicBezTo>
                      <a:pt x="32177" y="297868"/>
                      <a:pt x="26385" y="297868"/>
                      <a:pt x="20370" y="297868"/>
                    </a:cubicBezTo>
                    <a:cubicBezTo>
                      <a:pt x="7673" y="297868"/>
                      <a:pt x="322" y="290962"/>
                      <a:pt x="99" y="278042"/>
                    </a:cubicBezTo>
                    <a:cubicBezTo>
                      <a:pt x="-124" y="267572"/>
                      <a:pt x="99" y="257325"/>
                      <a:pt x="99" y="246855"/>
                    </a:cubicBezTo>
                    <a:lnTo>
                      <a:pt x="99" y="189605"/>
                    </a:lnTo>
                    <a:lnTo>
                      <a:pt x="322" y="189605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9" name="Graphic 13">
                <a:extLst>
                  <a:ext uri="{FF2B5EF4-FFF2-40B4-BE49-F238E27FC236}">
                    <a16:creationId xmlns:a16="http://schemas.microsoft.com/office/drawing/2014/main" id="{A0765A4D-DB9C-4359-9953-1CE7E0B07B1E}"/>
                  </a:ext>
                </a:extLst>
              </p:cNvPr>
              <p:cNvSpPr/>
              <p:nvPr/>
            </p:nvSpPr>
            <p:spPr>
              <a:xfrm>
                <a:off x="1646334" y="1566610"/>
                <a:ext cx="59923" cy="298155"/>
              </a:xfrm>
              <a:custGeom>
                <a:avLst/>
                <a:gdLst>
                  <a:gd name="connsiteX0" fmla="*/ 59923 w 59923"/>
                  <a:gd name="connsiteY0" fmla="*/ 149251 h 298155"/>
                  <a:gd name="connsiteX1" fmla="*/ 59923 w 59923"/>
                  <a:gd name="connsiteY1" fmla="*/ 274889 h 298155"/>
                  <a:gd name="connsiteX2" fmla="*/ 36533 w 59923"/>
                  <a:gd name="connsiteY2" fmla="*/ 298056 h 298155"/>
                  <a:gd name="connsiteX3" fmla="*/ 19826 w 59923"/>
                  <a:gd name="connsiteY3" fmla="*/ 298056 h 298155"/>
                  <a:gd name="connsiteX4" fmla="*/ 0 w 59923"/>
                  <a:gd name="connsiteY4" fmla="*/ 277785 h 298155"/>
                  <a:gd name="connsiteX5" fmla="*/ 0 w 59923"/>
                  <a:gd name="connsiteY5" fmla="*/ 244370 h 298155"/>
                  <a:gd name="connsiteX6" fmla="*/ 0 w 59923"/>
                  <a:gd name="connsiteY6" fmla="*/ 22053 h 298155"/>
                  <a:gd name="connsiteX7" fmla="*/ 21831 w 59923"/>
                  <a:gd name="connsiteY7" fmla="*/ 0 h 298155"/>
                  <a:gd name="connsiteX8" fmla="*/ 38983 w 59923"/>
                  <a:gd name="connsiteY8" fmla="*/ 0 h 298155"/>
                  <a:gd name="connsiteX9" fmla="*/ 59700 w 59923"/>
                  <a:gd name="connsiteY9" fmla="*/ 20940 h 298155"/>
                  <a:gd name="connsiteX10" fmla="*/ 59700 w 59923"/>
                  <a:gd name="connsiteY10" fmla="*/ 71952 h 298155"/>
                  <a:gd name="connsiteX11" fmla="*/ 59700 w 59923"/>
                  <a:gd name="connsiteY11" fmla="*/ 149251 h 298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9923" h="298155">
                    <a:moveTo>
                      <a:pt x="59923" y="149251"/>
                    </a:moveTo>
                    <a:cubicBezTo>
                      <a:pt x="59923" y="191130"/>
                      <a:pt x="59923" y="233009"/>
                      <a:pt x="59923" y="274889"/>
                    </a:cubicBezTo>
                    <a:cubicBezTo>
                      <a:pt x="59923" y="291596"/>
                      <a:pt x="53463" y="298056"/>
                      <a:pt x="36533" y="298056"/>
                    </a:cubicBezTo>
                    <a:cubicBezTo>
                      <a:pt x="30964" y="298056"/>
                      <a:pt x="25395" y="298279"/>
                      <a:pt x="19826" y="298056"/>
                    </a:cubicBezTo>
                    <a:cubicBezTo>
                      <a:pt x="7128" y="297833"/>
                      <a:pt x="0" y="290705"/>
                      <a:pt x="0" y="277785"/>
                    </a:cubicBezTo>
                    <a:cubicBezTo>
                      <a:pt x="0" y="266647"/>
                      <a:pt x="0" y="255509"/>
                      <a:pt x="0" y="244370"/>
                    </a:cubicBezTo>
                    <a:cubicBezTo>
                      <a:pt x="0" y="170190"/>
                      <a:pt x="0" y="96233"/>
                      <a:pt x="0" y="22053"/>
                    </a:cubicBezTo>
                    <a:cubicBezTo>
                      <a:pt x="0" y="6460"/>
                      <a:pt x="6460" y="0"/>
                      <a:pt x="21831" y="0"/>
                    </a:cubicBezTo>
                    <a:cubicBezTo>
                      <a:pt x="27623" y="0"/>
                      <a:pt x="33414" y="0"/>
                      <a:pt x="38983" y="0"/>
                    </a:cubicBezTo>
                    <a:cubicBezTo>
                      <a:pt x="52795" y="223"/>
                      <a:pt x="59700" y="7128"/>
                      <a:pt x="59700" y="20940"/>
                    </a:cubicBezTo>
                    <a:cubicBezTo>
                      <a:pt x="59700" y="37870"/>
                      <a:pt x="59700" y="55022"/>
                      <a:pt x="59700" y="71952"/>
                    </a:cubicBezTo>
                    <a:lnTo>
                      <a:pt x="59700" y="149251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30251751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indedia alternatief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DDC3D64E-BC7E-42C4-9B5C-F94E79373B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88750" y="6852424"/>
            <a:ext cx="405638" cy="271869"/>
          </a:xfrm>
        </p:spPr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datum 4">
            <a:extLst>
              <a:ext uri="{FF2B5EF4-FFF2-40B4-BE49-F238E27FC236}">
                <a16:creationId xmlns:a16="http://schemas.microsoft.com/office/drawing/2014/main" id="{A33FEC85-EA92-4F1E-9BDE-DF9C13EEAC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E5378240-6A84-469B-AA8E-D0686D723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D22F039-C101-40C9-9861-98F77FD457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1000" y="2070000"/>
            <a:ext cx="2790000" cy="357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25409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indedia alternatief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DDC3D64E-BC7E-42C4-9B5C-F94E79373B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88750" y="6852424"/>
            <a:ext cx="405638" cy="271869"/>
          </a:xfrm>
        </p:spPr>
        <p:txBody>
          <a:bodyPr/>
          <a:lstStyle/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8" name="Tijdelijke aanduiding voor datum 4">
            <a:extLst>
              <a:ext uri="{FF2B5EF4-FFF2-40B4-BE49-F238E27FC236}">
                <a16:creationId xmlns:a16="http://schemas.microsoft.com/office/drawing/2014/main" id="{A33FEC85-EA92-4F1E-9BDE-DF9C13EEAC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sp>
        <p:nvSpPr>
          <p:cNvPr id="9" name="Tijdelijke aanduiding voor voettekst 4">
            <a:extLst>
              <a:ext uri="{FF2B5EF4-FFF2-40B4-BE49-F238E27FC236}">
                <a16:creationId xmlns:a16="http://schemas.microsoft.com/office/drawing/2014/main" id="{E5378240-6A84-469B-AA8E-D0686D723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 dirty="0"/>
              <a:t>Voettekst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F9050ED-B83B-418F-8783-5FDA9E87FE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01000" y="2070000"/>
            <a:ext cx="2790000" cy="357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772252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Cover Provinciehuis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176616" y="2774373"/>
            <a:ext cx="6163215" cy="58977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>
              <a:defRPr sz="4267" b="1" baseline="0">
                <a:solidFill>
                  <a:srgbClr val="281F6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176617" y="3619201"/>
            <a:ext cx="4728884" cy="53546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2134">
                <a:solidFill>
                  <a:srgbClr val="281F6B"/>
                </a:solidFill>
                <a:latin typeface="Georgia" panose="02040502050405020303" pitchFamily="18" charset="0"/>
              </a:defRPr>
            </a:lvl1pPr>
            <a:lvl2pPr marL="609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2977973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 W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n datum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29868" y="5316910"/>
            <a:ext cx="9866377" cy="356616"/>
          </a:xfrm>
          <a:prstGeom prst="rect">
            <a:avLst/>
          </a:prstGeom>
        </p:spPr>
        <p:txBody>
          <a:bodyPr lIns="216000" tIns="45719" rIns="45719" bIns="45719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000" b="0">
                <a:latin typeface="+mn-lt"/>
              </a:defRPr>
            </a:lvl1pPr>
          </a:lstStyle>
          <a:p>
            <a:r>
              <a:rPr lang="nl-NL" dirty="0"/>
              <a:t>Auteurs</a:t>
            </a:r>
            <a:endParaRPr dirty="0"/>
          </a:p>
        </p:txBody>
      </p:sp>
      <p:sp>
        <p:nvSpPr>
          <p:cNvPr id="12" name="Naam presentatie"/>
          <p:cNvSpPr txBox="1">
            <a:spLocks noGrp="1"/>
          </p:cNvSpPr>
          <p:nvPr>
            <p:ph type="title" hasCustomPrompt="1"/>
          </p:nvPr>
        </p:nvSpPr>
        <p:spPr>
          <a:xfrm>
            <a:off x="1252728" y="3314700"/>
            <a:ext cx="9866377" cy="758953"/>
          </a:xfrm>
          <a:prstGeom prst="rect">
            <a:avLst/>
          </a:prstGeom>
        </p:spPr>
        <p:txBody>
          <a:bodyPr lIns="144000" anchor="t">
            <a:noAutofit/>
          </a:bodyPr>
          <a:lstStyle>
            <a:lvl1pPr>
              <a:defRPr sz="6000" b="0" spc="0" baseline="0">
                <a:latin typeface="+mj-lt"/>
              </a:defRPr>
            </a:lvl1pPr>
          </a:lstStyle>
          <a:p>
            <a:r>
              <a:rPr lang="nl-NL" dirty="0"/>
              <a:t>Titel</a:t>
            </a:r>
            <a:endParaRPr dirty="0"/>
          </a:p>
        </p:txBody>
      </p:sp>
      <p:sp>
        <p:nvSpPr>
          <p:cNvPr id="13" name="Hoofdtekst - niveau é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48156" y="1284732"/>
            <a:ext cx="9870949" cy="2029968"/>
          </a:xfrm>
          <a:prstGeom prst="rect">
            <a:avLst/>
          </a:prstGeom>
        </p:spPr>
        <p:txBody>
          <a:bodyPr lIns="108000" bIns="0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6100" b="0" spc="55" baseline="0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nl-NL" dirty="0"/>
              <a:t>Subtitel</a:t>
            </a:r>
            <a:endParaRPr dirty="0"/>
          </a:p>
        </p:txBody>
      </p:sp>
      <p:sp>
        <p:nvSpPr>
          <p:cNvPr id="9" name="Tijdelijke aanduiding voor datum 4">
            <a:extLst>
              <a:ext uri="{FF2B5EF4-FFF2-40B4-BE49-F238E27FC236}">
                <a16:creationId xmlns:a16="http://schemas.microsoft.com/office/drawing/2014/main" id="{1AB02A12-0190-465E-B00A-B91F85BC46FC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229868" y="5683940"/>
            <a:ext cx="9866376" cy="365125"/>
          </a:xfrm>
          <a:prstGeom prst="rect">
            <a:avLst/>
          </a:prstGeom>
        </p:spPr>
        <p:txBody>
          <a:bodyPr vert="horz" lIns="180000" tIns="45720" rIns="91440" bIns="45720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99EE1BB2-4598-48D9-BADB-36FFD29FB6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5" y="206685"/>
            <a:ext cx="1082626" cy="1082626"/>
          </a:xfrm>
          <a:prstGeom prst="rect">
            <a:avLst/>
          </a:prstGeom>
        </p:spPr>
      </p:pic>
      <p:sp>
        <p:nvSpPr>
          <p:cNvPr id="15" name="Dianummer">
            <a:extLst>
              <a:ext uri="{FF2B5EF4-FFF2-40B4-BE49-F238E27FC236}">
                <a16:creationId xmlns:a16="http://schemas.microsoft.com/office/drawing/2014/main" id="{DD9E9E95-4EFD-465B-827C-440AFE28FA80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588750" y="6852424"/>
            <a:ext cx="405638" cy="27186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r" defTabSz="292100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tx1"/>
                </a:solidFill>
                <a:latin typeface="+mn-lt"/>
                <a:ea typeface="Source Sans Pro" panose="020B0503030403020204" pitchFamily="34" charset="0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7" name="Tijdelijke aanduiding voor voettekst 5">
            <a:extLst>
              <a:ext uri="{FF2B5EF4-FFF2-40B4-BE49-F238E27FC236}">
                <a16:creationId xmlns:a16="http://schemas.microsoft.com/office/drawing/2014/main" id="{D9E51095-8B9A-495E-8659-6E1960A6D5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66093" y="6903720"/>
            <a:ext cx="9069578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nl-NL"/>
              <a:t>Hoofdstuktitel (Pas aan in voettekst &gt; invoegen &gt; Koptekst en voet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8996976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Cyaan met afbeeld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n datum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29868" y="5316910"/>
            <a:ext cx="5253229" cy="356616"/>
          </a:xfrm>
          <a:prstGeom prst="rect">
            <a:avLst/>
          </a:prstGeom>
        </p:spPr>
        <p:txBody>
          <a:bodyPr lIns="216000" tIns="45719" rIns="45719" bIns="45719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000" b="0">
                <a:latin typeface="+mn-lt"/>
              </a:defRPr>
            </a:lvl1pPr>
          </a:lstStyle>
          <a:p>
            <a:r>
              <a:rPr lang="nl-NL" dirty="0"/>
              <a:t>Auteurs</a:t>
            </a:r>
            <a:endParaRPr dirty="0"/>
          </a:p>
        </p:txBody>
      </p:sp>
      <p:sp>
        <p:nvSpPr>
          <p:cNvPr id="12" name="Naam presentatie"/>
          <p:cNvSpPr txBox="1">
            <a:spLocks noGrp="1"/>
          </p:cNvSpPr>
          <p:nvPr>
            <p:ph type="title" hasCustomPrompt="1"/>
          </p:nvPr>
        </p:nvSpPr>
        <p:spPr>
          <a:xfrm>
            <a:off x="1252729" y="3314700"/>
            <a:ext cx="5230368" cy="1805575"/>
          </a:xfrm>
          <a:prstGeom prst="rect">
            <a:avLst/>
          </a:prstGeom>
        </p:spPr>
        <p:txBody>
          <a:bodyPr lIns="144000" anchor="t">
            <a:noAutofit/>
          </a:bodyPr>
          <a:lstStyle>
            <a:lvl1pPr>
              <a:defRPr sz="6000" b="0" spc="0" baseline="0">
                <a:latin typeface="+mj-lt"/>
              </a:defRPr>
            </a:lvl1pPr>
          </a:lstStyle>
          <a:p>
            <a:r>
              <a:rPr lang="nl-NL" dirty="0"/>
              <a:t>Titel</a:t>
            </a:r>
            <a:endParaRPr dirty="0"/>
          </a:p>
        </p:txBody>
      </p:sp>
      <p:sp>
        <p:nvSpPr>
          <p:cNvPr id="13" name="Hoofdtekst - niveau é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48157" y="1284732"/>
            <a:ext cx="5234940" cy="2029968"/>
          </a:xfrm>
          <a:prstGeom prst="rect">
            <a:avLst/>
          </a:prstGeom>
        </p:spPr>
        <p:txBody>
          <a:bodyPr lIns="108000" bIns="0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6100" b="0" spc="55" baseline="0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nl-NL" dirty="0"/>
              <a:t>Subtitel</a:t>
            </a:r>
          </a:p>
        </p:txBody>
      </p:sp>
      <p:sp>
        <p:nvSpPr>
          <p:cNvPr id="9" name="Tijdelijke aanduiding voor datum 4">
            <a:extLst>
              <a:ext uri="{FF2B5EF4-FFF2-40B4-BE49-F238E27FC236}">
                <a16:creationId xmlns:a16="http://schemas.microsoft.com/office/drawing/2014/main" id="{1AB02A12-0190-465E-B00A-B91F85BC46FC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229868" y="5683940"/>
            <a:ext cx="5253229" cy="365125"/>
          </a:xfrm>
          <a:prstGeom prst="rect">
            <a:avLst/>
          </a:prstGeom>
        </p:spPr>
        <p:txBody>
          <a:bodyPr vert="horz" lIns="180000" tIns="45720" rIns="91440" bIns="45720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B150532B-FCF9-426A-ADF2-F182BD70000C}" type="datetime4">
              <a:rPr lang="nl-NL" smtClean="0"/>
              <a:t>8 juni 2023</a:t>
            </a:fld>
            <a:endParaRPr lang="nl-NL" dirty="0"/>
          </a:p>
        </p:txBody>
      </p:sp>
      <p:sp>
        <p:nvSpPr>
          <p:cNvPr id="10" name="Dianummer">
            <a:extLst>
              <a:ext uri="{FF2B5EF4-FFF2-40B4-BE49-F238E27FC236}">
                <a16:creationId xmlns:a16="http://schemas.microsoft.com/office/drawing/2014/main" id="{869DACE5-1BFD-404D-92ED-AAFC9B1C2565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588750" y="6823285"/>
            <a:ext cx="405638" cy="27186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r" defTabSz="292100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tx1"/>
                </a:solidFill>
                <a:latin typeface="+mn-lt"/>
                <a:ea typeface="Source Sans Pro" panose="020B0503030403020204" pitchFamily="34" charset="0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3CA36E5E-48C5-43E7-AF37-D5B5524CA83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647688" y="980561"/>
            <a:ext cx="5038344" cy="5031619"/>
          </a:xfrm>
          <a:prstGeom prst="round2DiagRect">
            <a:avLst>
              <a:gd name="adj1" fmla="val 44290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FEDFB67-4AC3-44A4-9051-8CC540E0621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5" y="206685"/>
            <a:ext cx="1082626" cy="1082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968336"/>
      </p:ext>
    </p:extLst>
  </p:cSld>
  <p:clrMapOvr>
    <a:masterClrMapping/>
  </p:clrMapOvr>
  <p:transition spd="med"/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Lichtgroen met afbeelding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n datum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29868" y="5316910"/>
            <a:ext cx="5253229" cy="356616"/>
          </a:xfrm>
          <a:prstGeom prst="rect">
            <a:avLst/>
          </a:prstGeom>
        </p:spPr>
        <p:txBody>
          <a:bodyPr lIns="216000" tIns="45719" rIns="45719" bIns="45719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000" b="0">
                <a:latin typeface="+mn-lt"/>
              </a:defRPr>
            </a:lvl1pPr>
          </a:lstStyle>
          <a:p>
            <a:r>
              <a:rPr lang="nl-NL" dirty="0"/>
              <a:t>Auteurs</a:t>
            </a:r>
            <a:endParaRPr dirty="0"/>
          </a:p>
        </p:txBody>
      </p:sp>
      <p:sp>
        <p:nvSpPr>
          <p:cNvPr id="12" name="Naam presentatie"/>
          <p:cNvSpPr txBox="1">
            <a:spLocks noGrp="1"/>
          </p:cNvSpPr>
          <p:nvPr>
            <p:ph type="title" hasCustomPrompt="1"/>
          </p:nvPr>
        </p:nvSpPr>
        <p:spPr>
          <a:xfrm>
            <a:off x="1252729" y="3314700"/>
            <a:ext cx="5230368" cy="1805575"/>
          </a:xfrm>
          <a:prstGeom prst="rect">
            <a:avLst/>
          </a:prstGeom>
        </p:spPr>
        <p:txBody>
          <a:bodyPr lIns="144000" anchor="t">
            <a:noAutofit/>
          </a:bodyPr>
          <a:lstStyle>
            <a:lvl1pPr>
              <a:defRPr sz="6000" b="0" spc="0" baseline="0">
                <a:latin typeface="+mj-lt"/>
              </a:defRPr>
            </a:lvl1pPr>
          </a:lstStyle>
          <a:p>
            <a:r>
              <a:rPr lang="nl-NL" dirty="0"/>
              <a:t>Titel</a:t>
            </a:r>
            <a:endParaRPr dirty="0"/>
          </a:p>
        </p:txBody>
      </p:sp>
      <p:sp>
        <p:nvSpPr>
          <p:cNvPr id="13" name="Hoofdtekst - niveau é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48157" y="1284732"/>
            <a:ext cx="5234940" cy="2029968"/>
          </a:xfrm>
          <a:prstGeom prst="rect">
            <a:avLst/>
          </a:prstGeom>
        </p:spPr>
        <p:txBody>
          <a:bodyPr lIns="108000" bIns="0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6100" b="0" spc="55" baseline="0"/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nl-NL" dirty="0"/>
              <a:t>Subtitel</a:t>
            </a:r>
          </a:p>
        </p:txBody>
      </p:sp>
      <p:sp>
        <p:nvSpPr>
          <p:cNvPr id="9" name="Tijdelijke aanduiding voor datum 4">
            <a:extLst>
              <a:ext uri="{FF2B5EF4-FFF2-40B4-BE49-F238E27FC236}">
                <a16:creationId xmlns:a16="http://schemas.microsoft.com/office/drawing/2014/main" id="{1AB02A12-0190-465E-B00A-B91F85BC46FC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229868" y="5683940"/>
            <a:ext cx="5253229" cy="365125"/>
          </a:xfrm>
          <a:prstGeom prst="rect">
            <a:avLst/>
          </a:prstGeom>
        </p:spPr>
        <p:txBody>
          <a:bodyPr vert="horz" lIns="180000" tIns="45720" rIns="91440" bIns="45720" rtlCol="0" anchor="ctr"/>
          <a:lstStyle>
            <a:lvl1pPr algn="l">
              <a:defRPr sz="1600">
                <a:solidFill>
                  <a:schemeClr val="tx1"/>
                </a:solidFill>
              </a:defRPr>
            </a:lvl1pPr>
          </a:lstStyle>
          <a:p>
            <a:fld id="{B150532B-FCF9-426A-ADF2-F182BD70000C}" type="datetime4">
              <a:rPr lang="nl-NL" smtClean="0"/>
              <a:t>8 juni 2023</a:t>
            </a:fld>
            <a:endParaRPr lang="nl-NL" dirty="0"/>
          </a:p>
        </p:txBody>
      </p:sp>
      <p:sp>
        <p:nvSpPr>
          <p:cNvPr id="10" name="Dianummer">
            <a:extLst>
              <a:ext uri="{FF2B5EF4-FFF2-40B4-BE49-F238E27FC236}">
                <a16:creationId xmlns:a16="http://schemas.microsoft.com/office/drawing/2014/main" id="{869DACE5-1BFD-404D-92ED-AAFC9B1C2565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588750" y="6823285"/>
            <a:ext cx="405638" cy="27186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r" defTabSz="292100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tx1"/>
                </a:solidFill>
                <a:latin typeface="+mn-lt"/>
                <a:ea typeface="Source Sans Pro" panose="020B0503030403020204" pitchFamily="34" charset="0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3CA36E5E-48C5-43E7-AF37-D5B5524CA83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647688" y="980561"/>
            <a:ext cx="5038344" cy="5031619"/>
          </a:xfrm>
          <a:prstGeom prst="round2DiagRect">
            <a:avLst>
              <a:gd name="adj1" fmla="val 44290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B9348248-1F82-49AA-AB3B-0384FAFC33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83505" y="206685"/>
            <a:ext cx="1082626" cy="1082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457274"/>
      </p:ext>
    </p:extLst>
  </p:cSld>
  <p:clrMapOvr>
    <a:masterClrMapping/>
  </p:clrMapOvr>
  <p:transition spd="med"/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onkergroen met afbeeldin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eur en datum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1229868" y="5316910"/>
            <a:ext cx="5253229" cy="356616"/>
          </a:xfrm>
          <a:prstGeom prst="rect">
            <a:avLst/>
          </a:prstGeom>
        </p:spPr>
        <p:txBody>
          <a:bodyPr lIns="216000" tIns="45719" rIns="45719" bIns="45719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 dirty="0"/>
              <a:t>Auteurs</a:t>
            </a:r>
            <a:endParaRPr dirty="0"/>
          </a:p>
        </p:txBody>
      </p:sp>
      <p:sp>
        <p:nvSpPr>
          <p:cNvPr id="12" name="Naam presentatie"/>
          <p:cNvSpPr txBox="1">
            <a:spLocks noGrp="1"/>
          </p:cNvSpPr>
          <p:nvPr>
            <p:ph type="title" hasCustomPrompt="1"/>
          </p:nvPr>
        </p:nvSpPr>
        <p:spPr>
          <a:xfrm>
            <a:off x="1252729" y="3314700"/>
            <a:ext cx="5230368" cy="1805575"/>
          </a:xfrm>
          <a:prstGeom prst="rect">
            <a:avLst/>
          </a:prstGeom>
        </p:spPr>
        <p:txBody>
          <a:bodyPr lIns="144000" anchor="t">
            <a:noAutofit/>
          </a:bodyPr>
          <a:lstStyle>
            <a:lvl1pPr>
              <a:defRPr sz="60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l-NL" dirty="0"/>
              <a:t>Titel</a:t>
            </a:r>
            <a:endParaRPr dirty="0"/>
          </a:p>
        </p:txBody>
      </p:sp>
      <p:sp>
        <p:nvSpPr>
          <p:cNvPr id="13" name="Hoofdtekst - niveau één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1248157" y="1284732"/>
            <a:ext cx="5234940" cy="2029968"/>
          </a:xfrm>
          <a:prstGeom prst="rect">
            <a:avLst/>
          </a:prstGeom>
        </p:spPr>
        <p:txBody>
          <a:bodyPr lIns="108000" bIns="0" anchor="b">
            <a:noAutofit/>
          </a:bodyPr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6100" b="0" spc="55" baseline="0">
                <a:solidFill>
                  <a:schemeClr val="bg1"/>
                </a:solidFill>
              </a:defRPr>
            </a:lvl1pPr>
            <a:lvl2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rPr lang="nl-NL" dirty="0"/>
              <a:t>Subtitel</a:t>
            </a:r>
            <a:endParaRPr dirty="0"/>
          </a:p>
        </p:txBody>
      </p:sp>
      <p:sp>
        <p:nvSpPr>
          <p:cNvPr id="9" name="Tijdelijke aanduiding voor datum 4">
            <a:extLst>
              <a:ext uri="{FF2B5EF4-FFF2-40B4-BE49-F238E27FC236}">
                <a16:creationId xmlns:a16="http://schemas.microsoft.com/office/drawing/2014/main" id="{1AB02A12-0190-465E-B00A-B91F85BC46FC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229868" y="5683940"/>
            <a:ext cx="5253229" cy="365125"/>
          </a:xfrm>
          <a:prstGeom prst="rect">
            <a:avLst/>
          </a:prstGeom>
        </p:spPr>
        <p:txBody>
          <a:bodyPr vert="horz" lIns="180000" tIns="45720" rIns="91440" bIns="45720" rtlCol="0" anchor="ctr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fld id="{B150532B-FCF9-426A-ADF2-F182BD70000C}" type="datetime4">
              <a:rPr lang="nl-NL" smtClean="0"/>
              <a:pPr/>
              <a:t>8 juni 2023</a:t>
            </a:fld>
            <a:endParaRPr lang="nl-NL" dirty="0"/>
          </a:p>
        </p:txBody>
      </p:sp>
      <p:sp>
        <p:nvSpPr>
          <p:cNvPr id="10" name="Dianummer">
            <a:extLst>
              <a:ext uri="{FF2B5EF4-FFF2-40B4-BE49-F238E27FC236}">
                <a16:creationId xmlns:a16="http://schemas.microsoft.com/office/drawing/2014/main" id="{869DACE5-1BFD-404D-92ED-AAFC9B1C2565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588750" y="6823285"/>
            <a:ext cx="405638" cy="27186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r" defTabSz="292100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tx1"/>
                </a:solidFill>
                <a:latin typeface="+mn-lt"/>
                <a:ea typeface="Source Sans Pro" panose="020B0503030403020204" pitchFamily="34" charset="0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3CA36E5E-48C5-43E7-AF37-D5B5524CA835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647688" y="980561"/>
            <a:ext cx="5038344" cy="5031619"/>
          </a:xfrm>
          <a:prstGeom prst="round2DiagRect">
            <a:avLst>
              <a:gd name="adj1" fmla="val 44290"/>
              <a:gd name="adj2" fmla="val 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r">
              <a:defRPr sz="14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 dirty="0"/>
              <a:t> Voeg afbeelding in via icoon</a:t>
            </a:r>
          </a:p>
        </p:txBody>
      </p:sp>
      <p:grpSp>
        <p:nvGrpSpPr>
          <p:cNvPr id="14" name="Groep 13">
            <a:extLst>
              <a:ext uri="{FF2B5EF4-FFF2-40B4-BE49-F238E27FC236}">
                <a16:creationId xmlns:a16="http://schemas.microsoft.com/office/drawing/2014/main" id="{665BCA8D-EEF3-4C9C-B2F7-D7E10C35386B}"/>
              </a:ext>
            </a:extLst>
          </p:cNvPr>
          <p:cNvGrpSpPr/>
          <p:nvPr userDrawn="1"/>
        </p:nvGrpSpPr>
        <p:grpSpPr>
          <a:xfrm>
            <a:off x="183505" y="206685"/>
            <a:ext cx="1082848" cy="1082848"/>
            <a:chOff x="367010" y="413369"/>
            <a:chExt cx="2165696" cy="2165696"/>
          </a:xfrm>
        </p:grpSpPr>
        <p:sp>
          <p:nvSpPr>
            <p:cNvPr id="15" name="Graphic 13">
              <a:extLst>
                <a:ext uri="{FF2B5EF4-FFF2-40B4-BE49-F238E27FC236}">
                  <a16:creationId xmlns:a16="http://schemas.microsoft.com/office/drawing/2014/main" id="{DA54B97A-2D03-428D-AE4E-AA0EE4CC52D2}"/>
                </a:ext>
              </a:extLst>
            </p:cNvPr>
            <p:cNvSpPr/>
            <p:nvPr/>
          </p:nvSpPr>
          <p:spPr>
            <a:xfrm>
              <a:off x="367010" y="413369"/>
              <a:ext cx="2165696" cy="2165696"/>
            </a:xfrm>
            <a:custGeom>
              <a:avLst/>
              <a:gdLst>
                <a:gd name="connsiteX0" fmla="*/ 1200912 w 2165696"/>
                <a:gd name="connsiteY0" fmla="*/ 2165697 h 2165696"/>
                <a:gd name="connsiteX1" fmla="*/ 0 w 2165696"/>
                <a:gd name="connsiteY1" fmla="*/ 2165697 h 2165696"/>
                <a:gd name="connsiteX2" fmla="*/ 0 w 2165696"/>
                <a:gd name="connsiteY2" fmla="*/ 964784 h 2165696"/>
                <a:gd name="connsiteX3" fmla="*/ 964784 w 2165696"/>
                <a:gd name="connsiteY3" fmla="*/ 0 h 2165696"/>
                <a:gd name="connsiteX4" fmla="*/ 2165697 w 2165696"/>
                <a:gd name="connsiteY4" fmla="*/ 0 h 2165696"/>
                <a:gd name="connsiteX5" fmla="*/ 2165697 w 2165696"/>
                <a:gd name="connsiteY5" fmla="*/ 1200912 h 2165696"/>
                <a:gd name="connsiteX6" fmla="*/ 1200912 w 2165696"/>
                <a:gd name="connsiteY6" fmla="*/ 2165697 h 2165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65696" h="2165696">
                  <a:moveTo>
                    <a:pt x="1200912" y="2165697"/>
                  </a:moveTo>
                  <a:lnTo>
                    <a:pt x="0" y="2165697"/>
                  </a:lnTo>
                  <a:lnTo>
                    <a:pt x="0" y="964784"/>
                  </a:lnTo>
                  <a:cubicBezTo>
                    <a:pt x="0" y="431936"/>
                    <a:pt x="431936" y="0"/>
                    <a:pt x="964784" y="0"/>
                  </a:cubicBezTo>
                  <a:lnTo>
                    <a:pt x="2165697" y="0"/>
                  </a:lnTo>
                  <a:lnTo>
                    <a:pt x="2165697" y="1200912"/>
                  </a:lnTo>
                  <a:cubicBezTo>
                    <a:pt x="2165697" y="1733760"/>
                    <a:pt x="1733760" y="2165697"/>
                    <a:pt x="1200912" y="2165697"/>
                  </a:cubicBezTo>
                </a:path>
              </a:pathLst>
            </a:custGeom>
            <a:solidFill>
              <a:schemeClr val="bg1"/>
            </a:solidFill>
            <a:ln w="22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sz="900"/>
            </a:p>
          </p:txBody>
        </p:sp>
        <p:grpSp>
          <p:nvGrpSpPr>
            <p:cNvPr id="16" name="Graphic 13">
              <a:extLst>
                <a:ext uri="{FF2B5EF4-FFF2-40B4-BE49-F238E27FC236}">
                  <a16:creationId xmlns:a16="http://schemas.microsoft.com/office/drawing/2014/main" id="{7CD8A4AF-FCD4-457B-B4BA-1DC34781D974}"/>
                </a:ext>
              </a:extLst>
            </p:cNvPr>
            <p:cNvGrpSpPr/>
            <p:nvPr/>
          </p:nvGrpSpPr>
          <p:grpSpPr>
            <a:xfrm>
              <a:off x="610655" y="1130302"/>
              <a:ext cx="1628994" cy="740997"/>
              <a:chOff x="610655" y="1130302"/>
              <a:chExt cx="1628994" cy="740997"/>
            </a:xfrm>
            <a:solidFill>
              <a:schemeClr val="tx1"/>
            </a:solidFill>
          </p:grpSpPr>
          <p:sp>
            <p:nvSpPr>
              <p:cNvPr id="17" name="Graphic 13">
                <a:extLst>
                  <a:ext uri="{FF2B5EF4-FFF2-40B4-BE49-F238E27FC236}">
                    <a16:creationId xmlns:a16="http://schemas.microsoft.com/office/drawing/2014/main" id="{751926A9-6804-4A2B-8DE6-6F4269B023E2}"/>
                  </a:ext>
                </a:extLst>
              </p:cNvPr>
              <p:cNvSpPr/>
              <p:nvPr/>
            </p:nvSpPr>
            <p:spPr>
              <a:xfrm>
                <a:off x="1171083" y="1566053"/>
                <a:ext cx="397284" cy="305246"/>
              </a:xfrm>
              <a:custGeom>
                <a:avLst/>
                <a:gdLst>
                  <a:gd name="connsiteX0" fmla="*/ 397284 w 397284"/>
                  <a:gd name="connsiteY0" fmla="*/ 109933 h 305246"/>
                  <a:gd name="connsiteX1" fmla="*/ 397284 w 397284"/>
                  <a:gd name="connsiteY1" fmla="*/ 192801 h 305246"/>
                  <a:gd name="connsiteX2" fmla="*/ 291695 w 397284"/>
                  <a:gd name="connsiteY2" fmla="*/ 304850 h 305246"/>
                  <a:gd name="connsiteX3" fmla="*/ 204595 w 397284"/>
                  <a:gd name="connsiteY3" fmla="*/ 275446 h 305246"/>
                  <a:gd name="connsiteX4" fmla="*/ 191898 w 397284"/>
                  <a:gd name="connsiteY4" fmla="*/ 275669 h 305246"/>
                  <a:gd name="connsiteX5" fmla="*/ 143781 w 397284"/>
                  <a:gd name="connsiteY5" fmla="*/ 301509 h 305246"/>
                  <a:gd name="connsiteX6" fmla="*/ 15024 w 397284"/>
                  <a:gd name="connsiteY6" fmla="*/ 251610 h 305246"/>
                  <a:gd name="connsiteX7" fmla="*/ 99 w 397284"/>
                  <a:gd name="connsiteY7" fmla="*/ 195474 h 305246"/>
                  <a:gd name="connsiteX8" fmla="*/ 99 w 397284"/>
                  <a:gd name="connsiteY8" fmla="*/ 21942 h 305246"/>
                  <a:gd name="connsiteX9" fmla="*/ 21261 w 397284"/>
                  <a:gd name="connsiteY9" fmla="*/ 780 h 305246"/>
                  <a:gd name="connsiteX10" fmla="*/ 40196 w 397284"/>
                  <a:gd name="connsiteY10" fmla="*/ 780 h 305246"/>
                  <a:gd name="connsiteX11" fmla="*/ 60022 w 397284"/>
                  <a:gd name="connsiteY11" fmla="*/ 20606 h 305246"/>
                  <a:gd name="connsiteX12" fmla="*/ 60022 w 397284"/>
                  <a:gd name="connsiteY12" fmla="*/ 58921 h 305246"/>
                  <a:gd name="connsiteX13" fmla="*/ 60022 w 397284"/>
                  <a:gd name="connsiteY13" fmla="*/ 192801 h 305246"/>
                  <a:gd name="connsiteX14" fmla="*/ 94996 w 397284"/>
                  <a:gd name="connsiteY14" fmla="*/ 245373 h 305246"/>
                  <a:gd name="connsiteX15" fmla="*/ 168953 w 397284"/>
                  <a:gd name="connsiteY15" fmla="*/ 190128 h 305246"/>
                  <a:gd name="connsiteX16" fmla="*/ 168953 w 397284"/>
                  <a:gd name="connsiteY16" fmla="*/ 22165 h 305246"/>
                  <a:gd name="connsiteX17" fmla="*/ 190561 w 397284"/>
                  <a:gd name="connsiteY17" fmla="*/ 557 h 305246"/>
                  <a:gd name="connsiteX18" fmla="*/ 209941 w 397284"/>
                  <a:gd name="connsiteY18" fmla="*/ 557 h 305246"/>
                  <a:gd name="connsiteX19" fmla="*/ 228208 w 397284"/>
                  <a:gd name="connsiteY19" fmla="*/ 18155 h 305246"/>
                  <a:gd name="connsiteX20" fmla="*/ 228431 w 397284"/>
                  <a:gd name="connsiteY20" fmla="*/ 24170 h 305246"/>
                  <a:gd name="connsiteX21" fmla="*/ 228431 w 397284"/>
                  <a:gd name="connsiteY21" fmla="*/ 189905 h 305246"/>
                  <a:gd name="connsiteX22" fmla="*/ 248479 w 397284"/>
                  <a:gd name="connsiteY22" fmla="*/ 237576 h 305246"/>
                  <a:gd name="connsiteX23" fmla="*/ 307288 w 397284"/>
                  <a:gd name="connsiteY23" fmla="*/ 243145 h 305246"/>
                  <a:gd name="connsiteX24" fmla="*/ 337139 w 397284"/>
                  <a:gd name="connsiteY24" fmla="*/ 193692 h 305246"/>
                  <a:gd name="connsiteX25" fmla="*/ 337139 w 397284"/>
                  <a:gd name="connsiteY25" fmla="*/ 23501 h 305246"/>
                  <a:gd name="connsiteX26" fmla="*/ 338698 w 397284"/>
                  <a:gd name="connsiteY26" fmla="*/ 11918 h 305246"/>
                  <a:gd name="connsiteX27" fmla="*/ 354291 w 397284"/>
                  <a:gd name="connsiteY27" fmla="*/ 334 h 305246"/>
                  <a:gd name="connsiteX28" fmla="*/ 380355 w 397284"/>
                  <a:gd name="connsiteY28" fmla="*/ 334 h 305246"/>
                  <a:gd name="connsiteX29" fmla="*/ 397062 w 397284"/>
                  <a:gd name="connsiteY29" fmla="*/ 19492 h 305246"/>
                  <a:gd name="connsiteX30" fmla="*/ 397284 w 397284"/>
                  <a:gd name="connsiteY30" fmla="*/ 109933 h 305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397284" h="305246">
                    <a:moveTo>
                      <a:pt x="397284" y="109933"/>
                    </a:moveTo>
                    <a:lnTo>
                      <a:pt x="397284" y="192801"/>
                    </a:lnTo>
                    <a:cubicBezTo>
                      <a:pt x="397284" y="255397"/>
                      <a:pt x="354291" y="301063"/>
                      <a:pt x="291695" y="304850"/>
                    </a:cubicBezTo>
                    <a:cubicBezTo>
                      <a:pt x="258503" y="306855"/>
                      <a:pt x="229099" y="298613"/>
                      <a:pt x="204595" y="275446"/>
                    </a:cubicBezTo>
                    <a:cubicBezTo>
                      <a:pt x="200140" y="271213"/>
                      <a:pt x="197244" y="271436"/>
                      <a:pt x="191898" y="275669"/>
                    </a:cubicBezTo>
                    <a:cubicBezTo>
                      <a:pt x="177418" y="287252"/>
                      <a:pt x="161825" y="296831"/>
                      <a:pt x="143781" y="301509"/>
                    </a:cubicBezTo>
                    <a:cubicBezTo>
                      <a:pt x="96778" y="313315"/>
                      <a:pt x="40865" y="297277"/>
                      <a:pt x="15024" y="251610"/>
                    </a:cubicBezTo>
                    <a:cubicBezTo>
                      <a:pt x="5223" y="234235"/>
                      <a:pt x="99" y="215300"/>
                      <a:pt x="99" y="195474"/>
                    </a:cubicBezTo>
                    <a:cubicBezTo>
                      <a:pt x="-124" y="137556"/>
                      <a:pt x="99" y="79860"/>
                      <a:pt x="99" y="21942"/>
                    </a:cubicBezTo>
                    <a:cubicBezTo>
                      <a:pt x="99" y="7685"/>
                      <a:pt x="7005" y="1002"/>
                      <a:pt x="21261" y="780"/>
                    </a:cubicBezTo>
                    <a:cubicBezTo>
                      <a:pt x="27499" y="780"/>
                      <a:pt x="33959" y="780"/>
                      <a:pt x="40196" y="780"/>
                    </a:cubicBezTo>
                    <a:cubicBezTo>
                      <a:pt x="52671" y="1002"/>
                      <a:pt x="59799" y="7908"/>
                      <a:pt x="60022" y="20606"/>
                    </a:cubicBezTo>
                    <a:cubicBezTo>
                      <a:pt x="60245" y="33303"/>
                      <a:pt x="60022" y="46223"/>
                      <a:pt x="60022" y="58921"/>
                    </a:cubicBezTo>
                    <a:cubicBezTo>
                      <a:pt x="60022" y="103473"/>
                      <a:pt x="60022" y="148248"/>
                      <a:pt x="60022" y="192801"/>
                    </a:cubicBezTo>
                    <a:cubicBezTo>
                      <a:pt x="60022" y="217973"/>
                      <a:pt x="73165" y="238467"/>
                      <a:pt x="94996" y="245373"/>
                    </a:cubicBezTo>
                    <a:cubicBezTo>
                      <a:pt x="131306" y="257179"/>
                      <a:pt x="168953" y="237131"/>
                      <a:pt x="168953" y="190128"/>
                    </a:cubicBezTo>
                    <a:cubicBezTo>
                      <a:pt x="169176" y="134214"/>
                      <a:pt x="168953" y="78301"/>
                      <a:pt x="168953" y="22165"/>
                    </a:cubicBezTo>
                    <a:cubicBezTo>
                      <a:pt x="168953" y="6794"/>
                      <a:pt x="175190" y="557"/>
                      <a:pt x="190561" y="557"/>
                    </a:cubicBezTo>
                    <a:cubicBezTo>
                      <a:pt x="197021" y="557"/>
                      <a:pt x="203481" y="334"/>
                      <a:pt x="209941" y="557"/>
                    </a:cubicBezTo>
                    <a:cubicBezTo>
                      <a:pt x="220857" y="1002"/>
                      <a:pt x="227317" y="7017"/>
                      <a:pt x="228208" y="18155"/>
                    </a:cubicBezTo>
                    <a:cubicBezTo>
                      <a:pt x="228431" y="20160"/>
                      <a:pt x="228431" y="22165"/>
                      <a:pt x="228431" y="24170"/>
                    </a:cubicBezTo>
                    <a:cubicBezTo>
                      <a:pt x="228431" y="80083"/>
                      <a:pt x="228431" y="133769"/>
                      <a:pt x="228431" y="189905"/>
                    </a:cubicBezTo>
                    <a:cubicBezTo>
                      <a:pt x="228431" y="207949"/>
                      <a:pt x="233331" y="226438"/>
                      <a:pt x="248479" y="237576"/>
                    </a:cubicBezTo>
                    <a:cubicBezTo>
                      <a:pt x="266746" y="251165"/>
                      <a:pt x="287017" y="252278"/>
                      <a:pt x="307288" y="243145"/>
                    </a:cubicBezTo>
                    <a:cubicBezTo>
                      <a:pt x="328005" y="233789"/>
                      <a:pt x="336916" y="215745"/>
                      <a:pt x="337139" y="193692"/>
                    </a:cubicBezTo>
                    <a:cubicBezTo>
                      <a:pt x="337584" y="137110"/>
                      <a:pt x="337361" y="80306"/>
                      <a:pt x="337139" y="23501"/>
                    </a:cubicBezTo>
                    <a:cubicBezTo>
                      <a:pt x="337139" y="19492"/>
                      <a:pt x="337361" y="15705"/>
                      <a:pt x="338698" y="11918"/>
                    </a:cubicBezTo>
                    <a:cubicBezTo>
                      <a:pt x="341148" y="4567"/>
                      <a:pt x="346717" y="780"/>
                      <a:pt x="354291" y="334"/>
                    </a:cubicBezTo>
                    <a:cubicBezTo>
                      <a:pt x="362979" y="-111"/>
                      <a:pt x="371667" y="-111"/>
                      <a:pt x="380355" y="334"/>
                    </a:cubicBezTo>
                    <a:cubicBezTo>
                      <a:pt x="390824" y="1002"/>
                      <a:pt x="397062" y="8354"/>
                      <a:pt x="397062" y="19492"/>
                    </a:cubicBezTo>
                    <a:cubicBezTo>
                      <a:pt x="397284" y="49787"/>
                      <a:pt x="397284" y="79860"/>
                      <a:pt x="397284" y="109933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8" name="Graphic 13">
                <a:extLst>
                  <a:ext uri="{FF2B5EF4-FFF2-40B4-BE49-F238E27FC236}">
                    <a16:creationId xmlns:a16="http://schemas.microsoft.com/office/drawing/2014/main" id="{81EAC9DB-08A2-4AA3-8169-C93CEE382FD9}"/>
                  </a:ext>
                </a:extLst>
              </p:cNvPr>
              <p:cNvSpPr/>
              <p:nvPr/>
            </p:nvSpPr>
            <p:spPr>
              <a:xfrm>
                <a:off x="859760" y="1137519"/>
                <a:ext cx="244815" cy="449808"/>
              </a:xfrm>
              <a:custGeom>
                <a:avLst/>
                <a:gdLst>
                  <a:gd name="connsiteX0" fmla="*/ 244816 w 244815"/>
                  <a:gd name="connsiteY0" fmla="*/ 225041 h 449808"/>
                  <a:gd name="connsiteX1" fmla="*/ 244816 w 244815"/>
                  <a:gd name="connsiteY1" fmla="*/ 427977 h 449808"/>
                  <a:gd name="connsiteX2" fmla="*/ 223208 w 244815"/>
                  <a:gd name="connsiteY2" fmla="*/ 449808 h 449808"/>
                  <a:gd name="connsiteX3" fmla="*/ 207615 w 244815"/>
                  <a:gd name="connsiteY3" fmla="*/ 449808 h 449808"/>
                  <a:gd name="connsiteX4" fmla="*/ 184893 w 244815"/>
                  <a:gd name="connsiteY4" fmla="*/ 426864 h 449808"/>
                  <a:gd name="connsiteX5" fmla="*/ 184893 w 244815"/>
                  <a:gd name="connsiteY5" fmla="*/ 309691 h 449808"/>
                  <a:gd name="connsiteX6" fmla="*/ 184893 w 244815"/>
                  <a:gd name="connsiteY6" fmla="*/ 306349 h 449808"/>
                  <a:gd name="connsiteX7" fmla="*/ 176428 w 244815"/>
                  <a:gd name="connsiteY7" fmla="*/ 297884 h 449808"/>
                  <a:gd name="connsiteX8" fmla="*/ 110936 w 244815"/>
                  <a:gd name="connsiteY8" fmla="*/ 297884 h 449808"/>
                  <a:gd name="connsiteX9" fmla="*/ 0 w 244815"/>
                  <a:gd name="connsiteY9" fmla="*/ 186948 h 449808"/>
                  <a:gd name="connsiteX10" fmla="*/ 0 w 244815"/>
                  <a:gd name="connsiteY10" fmla="*/ 110318 h 449808"/>
                  <a:gd name="connsiteX11" fmla="*/ 101134 w 244815"/>
                  <a:gd name="connsiteY11" fmla="*/ 942 h 449808"/>
                  <a:gd name="connsiteX12" fmla="*/ 173309 w 244815"/>
                  <a:gd name="connsiteY12" fmla="*/ 273 h 449808"/>
                  <a:gd name="connsiteX13" fmla="*/ 223876 w 244815"/>
                  <a:gd name="connsiteY13" fmla="*/ 273 h 449808"/>
                  <a:gd name="connsiteX14" fmla="*/ 244816 w 244815"/>
                  <a:gd name="connsiteY14" fmla="*/ 20990 h 449808"/>
                  <a:gd name="connsiteX15" fmla="*/ 244816 w 244815"/>
                  <a:gd name="connsiteY15" fmla="*/ 225041 h 449808"/>
                  <a:gd name="connsiteX16" fmla="*/ 184893 w 244815"/>
                  <a:gd name="connsiteY16" fmla="*/ 148856 h 449808"/>
                  <a:gd name="connsiteX17" fmla="*/ 184893 w 244815"/>
                  <a:gd name="connsiteY17" fmla="*/ 64429 h 449808"/>
                  <a:gd name="connsiteX18" fmla="*/ 177764 w 244815"/>
                  <a:gd name="connsiteY18" fmla="*/ 56410 h 449808"/>
                  <a:gd name="connsiteX19" fmla="*/ 111604 w 244815"/>
                  <a:gd name="connsiteY19" fmla="*/ 56410 h 449808"/>
                  <a:gd name="connsiteX20" fmla="*/ 59923 w 244815"/>
                  <a:gd name="connsiteY20" fmla="*/ 105640 h 449808"/>
                  <a:gd name="connsiteX21" fmla="*/ 59700 w 244815"/>
                  <a:gd name="connsiteY21" fmla="*/ 188285 h 449808"/>
                  <a:gd name="connsiteX22" fmla="*/ 116728 w 244815"/>
                  <a:gd name="connsiteY22" fmla="*/ 240857 h 449808"/>
                  <a:gd name="connsiteX23" fmla="*/ 174423 w 244815"/>
                  <a:gd name="connsiteY23" fmla="*/ 240857 h 449808"/>
                  <a:gd name="connsiteX24" fmla="*/ 184670 w 244815"/>
                  <a:gd name="connsiteY24" fmla="*/ 230833 h 449808"/>
                  <a:gd name="connsiteX25" fmla="*/ 184670 w 244815"/>
                  <a:gd name="connsiteY25" fmla="*/ 148856 h 449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44815" h="449808">
                    <a:moveTo>
                      <a:pt x="244816" y="225041"/>
                    </a:moveTo>
                    <a:lnTo>
                      <a:pt x="244816" y="427977"/>
                    </a:lnTo>
                    <a:cubicBezTo>
                      <a:pt x="244816" y="443125"/>
                      <a:pt x="238356" y="449585"/>
                      <a:pt x="223208" y="449808"/>
                    </a:cubicBezTo>
                    <a:cubicBezTo>
                      <a:pt x="218084" y="449808"/>
                      <a:pt x="212738" y="449808"/>
                      <a:pt x="207615" y="449808"/>
                    </a:cubicBezTo>
                    <a:cubicBezTo>
                      <a:pt x="191130" y="449808"/>
                      <a:pt x="184893" y="443348"/>
                      <a:pt x="184893" y="426864"/>
                    </a:cubicBezTo>
                    <a:cubicBezTo>
                      <a:pt x="184893" y="387880"/>
                      <a:pt x="184893" y="348674"/>
                      <a:pt x="184893" y="309691"/>
                    </a:cubicBezTo>
                    <a:cubicBezTo>
                      <a:pt x="184893" y="308577"/>
                      <a:pt x="184893" y="307463"/>
                      <a:pt x="184893" y="306349"/>
                    </a:cubicBezTo>
                    <a:cubicBezTo>
                      <a:pt x="184893" y="299221"/>
                      <a:pt x="183556" y="297884"/>
                      <a:pt x="176428" y="297884"/>
                    </a:cubicBezTo>
                    <a:cubicBezTo>
                      <a:pt x="154597" y="297884"/>
                      <a:pt x="132766" y="297884"/>
                      <a:pt x="110936" y="297884"/>
                    </a:cubicBezTo>
                    <a:cubicBezTo>
                      <a:pt x="48562" y="297884"/>
                      <a:pt x="0" y="249322"/>
                      <a:pt x="0" y="186948"/>
                    </a:cubicBezTo>
                    <a:cubicBezTo>
                      <a:pt x="0" y="161331"/>
                      <a:pt x="0" y="135713"/>
                      <a:pt x="0" y="110318"/>
                    </a:cubicBezTo>
                    <a:cubicBezTo>
                      <a:pt x="0" y="51732"/>
                      <a:pt x="42770" y="5397"/>
                      <a:pt x="101134" y="942"/>
                    </a:cubicBezTo>
                    <a:cubicBezTo>
                      <a:pt x="125192" y="-840"/>
                      <a:pt x="149251" y="496"/>
                      <a:pt x="173309" y="273"/>
                    </a:cubicBezTo>
                    <a:cubicBezTo>
                      <a:pt x="190239" y="51"/>
                      <a:pt x="206946" y="273"/>
                      <a:pt x="223876" y="273"/>
                    </a:cubicBezTo>
                    <a:cubicBezTo>
                      <a:pt x="237910" y="273"/>
                      <a:pt x="244816" y="7179"/>
                      <a:pt x="244816" y="20990"/>
                    </a:cubicBezTo>
                    <a:cubicBezTo>
                      <a:pt x="244816" y="88710"/>
                      <a:pt x="244816" y="156875"/>
                      <a:pt x="244816" y="225041"/>
                    </a:cubicBezTo>
                    <a:moveTo>
                      <a:pt x="184893" y="148856"/>
                    </a:moveTo>
                    <a:cubicBezTo>
                      <a:pt x="184893" y="120788"/>
                      <a:pt x="184893" y="92497"/>
                      <a:pt x="184893" y="64429"/>
                    </a:cubicBezTo>
                    <a:cubicBezTo>
                      <a:pt x="184893" y="57969"/>
                      <a:pt x="183556" y="56410"/>
                      <a:pt x="177764" y="56410"/>
                    </a:cubicBezTo>
                    <a:cubicBezTo>
                      <a:pt x="155711" y="56410"/>
                      <a:pt x="133658" y="55964"/>
                      <a:pt x="111604" y="56410"/>
                    </a:cubicBezTo>
                    <a:cubicBezTo>
                      <a:pt x="84650" y="57078"/>
                      <a:pt x="61705" y="78686"/>
                      <a:pt x="59923" y="105640"/>
                    </a:cubicBezTo>
                    <a:cubicBezTo>
                      <a:pt x="58141" y="133263"/>
                      <a:pt x="58364" y="160885"/>
                      <a:pt x="59700" y="188285"/>
                    </a:cubicBezTo>
                    <a:cubicBezTo>
                      <a:pt x="61260" y="221922"/>
                      <a:pt x="83090" y="240857"/>
                      <a:pt x="116728" y="240857"/>
                    </a:cubicBezTo>
                    <a:cubicBezTo>
                      <a:pt x="135885" y="240857"/>
                      <a:pt x="155265" y="240857"/>
                      <a:pt x="174423" y="240857"/>
                    </a:cubicBezTo>
                    <a:cubicBezTo>
                      <a:pt x="184002" y="240857"/>
                      <a:pt x="184670" y="240189"/>
                      <a:pt x="184670" y="230833"/>
                    </a:cubicBezTo>
                    <a:lnTo>
                      <a:pt x="184670" y="148856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19" name="Graphic 13">
                <a:extLst>
                  <a:ext uri="{FF2B5EF4-FFF2-40B4-BE49-F238E27FC236}">
                    <a16:creationId xmlns:a16="http://schemas.microsoft.com/office/drawing/2014/main" id="{CACB9071-024A-421E-B2B2-0EC5733144DF}"/>
                  </a:ext>
                </a:extLst>
              </p:cNvPr>
              <p:cNvSpPr/>
              <p:nvPr/>
            </p:nvSpPr>
            <p:spPr>
              <a:xfrm>
                <a:off x="1483718" y="1137124"/>
                <a:ext cx="244815" cy="304629"/>
              </a:xfrm>
              <a:custGeom>
                <a:avLst/>
                <a:gdLst>
                  <a:gd name="connsiteX0" fmla="*/ 244816 w 244815"/>
                  <a:gd name="connsiteY0" fmla="*/ 149028 h 304629"/>
                  <a:gd name="connsiteX1" fmla="*/ 244816 w 244815"/>
                  <a:gd name="connsiteY1" fmla="*/ 275334 h 304629"/>
                  <a:gd name="connsiteX2" fmla="*/ 222317 w 244815"/>
                  <a:gd name="connsiteY2" fmla="*/ 298056 h 304629"/>
                  <a:gd name="connsiteX3" fmla="*/ 205610 w 244815"/>
                  <a:gd name="connsiteY3" fmla="*/ 298056 h 304629"/>
                  <a:gd name="connsiteX4" fmla="*/ 184893 w 244815"/>
                  <a:gd name="connsiteY4" fmla="*/ 279567 h 304629"/>
                  <a:gd name="connsiteX5" fmla="*/ 181997 w 244815"/>
                  <a:gd name="connsiteY5" fmla="*/ 273998 h 304629"/>
                  <a:gd name="connsiteX6" fmla="*/ 176428 w 244815"/>
                  <a:gd name="connsiteY6" fmla="*/ 276448 h 304629"/>
                  <a:gd name="connsiteX7" fmla="*/ 126084 w 244815"/>
                  <a:gd name="connsiteY7" fmla="*/ 302957 h 304629"/>
                  <a:gd name="connsiteX8" fmla="*/ 50344 w 244815"/>
                  <a:gd name="connsiteY8" fmla="*/ 289146 h 304629"/>
                  <a:gd name="connsiteX9" fmla="*/ 2450 w 244815"/>
                  <a:gd name="connsiteY9" fmla="*/ 213406 h 304629"/>
                  <a:gd name="connsiteX10" fmla="*/ 0 w 244815"/>
                  <a:gd name="connsiteY10" fmla="*/ 186452 h 304629"/>
                  <a:gd name="connsiteX11" fmla="*/ 0 w 244815"/>
                  <a:gd name="connsiteY11" fmla="*/ 124747 h 304629"/>
                  <a:gd name="connsiteX12" fmla="*/ 107372 w 244815"/>
                  <a:gd name="connsiteY12" fmla="*/ 1114 h 304629"/>
                  <a:gd name="connsiteX13" fmla="*/ 123410 w 244815"/>
                  <a:gd name="connsiteY13" fmla="*/ 0 h 304629"/>
                  <a:gd name="connsiteX14" fmla="*/ 222317 w 244815"/>
                  <a:gd name="connsiteY14" fmla="*/ 0 h 304629"/>
                  <a:gd name="connsiteX15" fmla="*/ 244816 w 244815"/>
                  <a:gd name="connsiteY15" fmla="*/ 22722 h 304629"/>
                  <a:gd name="connsiteX16" fmla="*/ 244816 w 244815"/>
                  <a:gd name="connsiteY16" fmla="*/ 149028 h 304629"/>
                  <a:gd name="connsiteX17" fmla="*/ 184893 w 244815"/>
                  <a:gd name="connsiteY17" fmla="*/ 122965 h 304629"/>
                  <a:gd name="connsiteX18" fmla="*/ 185116 w 244815"/>
                  <a:gd name="connsiteY18" fmla="*/ 122965 h 304629"/>
                  <a:gd name="connsiteX19" fmla="*/ 185116 w 244815"/>
                  <a:gd name="connsiteY19" fmla="*/ 64601 h 304629"/>
                  <a:gd name="connsiteX20" fmla="*/ 177987 w 244815"/>
                  <a:gd name="connsiteY20" fmla="*/ 56582 h 304629"/>
                  <a:gd name="connsiteX21" fmla="*/ 124079 w 244815"/>
                  <a:gd name="connsiteY21" fmla="*/ 56582 h 304629"/>
                  <a:gd name="connsiteX22" fmla="*/ 60591 w 244815"/>
                  <a:gd name="connsiteY22" fmla="*/ 116505 h 304629"/>
                  <a:gd name="connsiteX23" fmla="*/ 60146 w 244815"/>
                  <a:gd name="connsiteY23" fmla="*/ 196031 h 304629"/>
                  <a:gd name="connsiteX24" fmla="*/ 81531 w 244815"/>
                  <a:gd name="connsiteY24" fmla="*/ 237910 h 304629"/>
                  <a:gd name="connsiteX25" fmla="*/ 134326 w 244815"/>
                  <a:gd name="connsiteY25" fmla="*/ 245930 h 304629"/>
                  <a:gd name="connsiteX26" fmla="*/ 185116 w 244815"/>
                  <a:gd name="connsiteY26" fmla="*/ 181329 h 304629"/>
                  <a:gd name="connsiteX27" fmla="*/ 184893 w 244815"/>
                  <a:gd name="connsiteY27" fmla="*/ 122965 h 304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44815" h="304629">
                    <a:moveTo>
                      <a:pt x="244816" y="149028"/>
                    </a:moveTo>
                    <a:cubicBezTo>
                      <a:pt x="244816" y="191130"/>
                      <a:pt x="244816" y="233232"/>
                      <a:pt x="244816" y="275334"/>
                    </a:cubicBezTo>
                    <a:cubicBezTo>
                      <a:pt x="244816" y="291596"/>
                      <a:pt x="238579" y="298056"/>
                      <a:pt x="222317" y="298056"/>
                    </a:cubicBezTo>
                    <a:cubicBezTo>
                      <a:pt x="216748" y="298056"/>
                      <a:pt x="211179" y="298056"/>
                      <a:pt x="205610" y="298056"/>
                    </a:cubicBezTo>
                    <a:cubicBezTo>
                      <a:pt x="193581" y="298056"/>
                      <a:pt x="186229" y="291596"/>
                      <a:pt x="184893" y="279567"/>
                    </a:cubicBezTo>
                    <a:cubicBezTo>
                      <a:pt x="184670" y="277339"/>
                      <a:pt x="184447" y="275112"/>
                      <a:pt x="181997" y="273998"/>
                    </a:cubicBezTo>
                    <a:cubicBezTo>
                      <a:pt x="179324" y="272884"/>
                      <a:pt x="177764" y="274889"/>
                      <a:pt x="176428" y="276448"/>
                    </a:cubicBezTo>
                    <a:cubicBezTo>
                      <a:pt x="163508" y="292487"/>
                      <a:pt x="145909" y="300061"/>
                      <a:pt x="126084" y="302957"/>
                    </a:cubicBezTo>
                    <a:cubicBezTo>
                      <a:pt x="99352" y="306967"/>
                      <a:pt x="73512" y="304294"/>
                      <a:pt x="50344" y="289146"/>
                    </a:cubicBezTo>
                    <a:cubicBezTo>
                      <a:pt x="22722" y="271325"/>
                      <a:pt x="8910" y="244816"/>
                      <a:pt x="2450" y="213406"/>
                    </a:cubicBezTo>
                    <a:cubicBezTo>
                      <a:pt x="668" y="204496"/>
                      <a:pt x="0" y="195363"/>
                      <a:pt x="0" y="186452"/>
                    </a:cubicBezTo>
                    <a:cubicBezTo>
                      <a:pt x="223" y="165958"/>
                      <a:pt x="0" y="145241"/>
                      <a:pt x="0" y="124747"/>
                    </a:cubicBezTo>
                    <a:cubicBezTo>
                      <a:pt x="0" y="60814"/>
                      <a:pt x="44107" y="10024"/>
                      <a:pt x="107372" y="1114"/>
                    </a:cubicBezTo>
                    <a:cubicBezTo>
                      <a:pt x="112718" y="446"/>
                      <a:pt x="118064" y="0"/>
                      <a:pt x="123410" y="0"/>
                    </a:cubicBezTo>
                    <a:cubicBezTo>
                      <a:pt x="156379" y="0"/>
                      <a:pt x="189348" y="0"/>
                      <a:pt x="222317" y="0"/>
                    </a:cubicBezTo>
                    <a:cubicBezTo>
                      <a:pt x="238356" y="0"/>
                      <a:pt x="244816" y="6460"/>
                      <a:pt x="244816" y="22722"/>
                    </a:cubicBezTo>
                    <a:cubicBezTo>
                      <a:pt x="244816" y="64824"/>
                      <a:pt x="244816" y="106926"/>
                      <a:pt x="244816" y="149028"/>
                    </a:cubicBezTo>
                    <a:moveTo>
                      <a:pt x="184893" y="122965"/>
                    </a:moveTo>
                    <a:lnTo>
                      <a:pt x="185116" y="122965"/>
                    </a:lnTo>
                    <a:cubicBezTo>
                      <a:pt x="185116" y="103585"/>
                      <a:pt x="185116" y="83981"/>
                      <a:pt x="185116" y="64601"/>
                    </a:cubicBezTo>
                    <a:cubicBezTo>
                      <a:pt x="185116" y="58141"/>
                      <a:pt x="183556" y="56582"/>
                      <a:pt x="177987" y="56582"/>
                    </a:cubicBezTo>
                    <a:cubicBezTo>
                      <a:pt x="159943" y="56582"/>
                      <a:pt x="142122" y="56136"/>
                      <a:pt x="124079" y="56582"/>
                    </a:cubicBezTo>
                    <a:cubicBezTo>
                      <a:pt x="90219" y="57473"/>
                      <a:pt x="63042" y="82645"/>
                      <a:pt x="60591" y="116505"/>
                    </a:cubicBezTo>
                    <a:cubicBezTo>
                      <a:pt x="58586" y="143014"/>
                      <a:pt x="59700" y="169522"/>
                      <a:pt x="60146" y="196031"/>
                    </a:cubicBezTo>
                    <a:cubicBezTo>
                      <a:pt x="60591" y="212961"/>
                      <a:pt x="67274" y="227886"/>
                      <a:pt x="81531" y="237910"/>
                    </a:cubicBezTo>
                    <a:cubicBezTo>
                      <a:pt x="97570" y="249494"/>
                      <a:pt x="115836" y="249940"/>
                      <a:pt x="134326" y="245930"/>
                    </a:cubicBezTo>
                    <a:cubicBezTo>
                      <a:pt x="162839" y="239470"/>
                      <a:pt x="184002" y="212293"/>
                      <a:pt x="185116" y="181329"/>
                    </a:cubicBezTo>
                    <a:cubicBezTo>
                      <a:pt x="185338" y="161948"/>
                      <a:pt x="184893" y="142345"/>
                      <a:pt x="184893" y="122965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0" name="Graphic 13">
                <a:extLst>
                  <a:ext uri="{FF2B5EF4-FFF2-40B4-BE49-F238E27FC236}">
                    <a16:creationId xmlns:a16="http://schemas.microsoft.com/office/drawing/2014/main" id="{8F9EE42F-5EDC-4F68-A2B6-380F6074863E}"/>
                  </a:ext>
                </a:extLst>
              </p:cNvPr>
              <p:cNvSpPr/>
              <p:nvPr/>
            </p:nvSpPr>
            <p:spPr>
              <a:xfrm>
                <a:off x="2004481" y="1559621"/>
                <a:ext cx="235169" cy="311281"/>
              </a:xfrm>
              <a:custGeom>
                <a:avLst/>
                <a:gdLst>
                  <a:gd name="connsiteX0" fmla="*/ 142178 w 235169"/>
                  <a:gd name="connsiteY0" fmla="*/ 177180 h 311281"/>
                  <a:gd name="connsiteX1" fmla="*/ 69335 w 235169"/>
                  <a:gd name="connsiteY1" fmla="*/ 177180 h 311281"/>
                  <a:gd name="connsiteX2" fmla="*/ 60424 w 235169"/>
                  <a:gd name="connsiteY2" fmla="*/ 186313 h 311281"/>
                  <a:gd name="connsiteX3" fmla="*/ 63098 w 235169"/>
                  <a:gd name="connsiteY3" fmla="*/ 215495 h 311281"/>
                  <a:gd name="connsiteX4" fmla="*/ 117229 w 235169"/>
                  <a:gd name="connsiteY4" fmla="*/ 255146 h 311281"/>
                  <a:gd name="connsiteX5" fmla="*/ 182053 w 235169"/>
                  <a:gd name="connsiteY5" fmla="*/ 229306 h 311281"/>
                  <a:gd name="connsiteX6" fmla="*/ 210343 w 235169"/>
                  <a:gd name="connsiteY6" fmla="*/ 228861 h 311281"/>
                  <a:gd name="connsiteX7" fmla="*/ 221036 w 235169"/>
                  <a:gd name="connsiteY7" fmla="*/ 238439 h 311281"/>
                  <a:gd name="connsiteX8" fmla="*/ 224377 w 235169"/>
                  <a:gd name="connsiteY8" fmla="*/ 264280 h 311281"/>
                  <a:gd name="connsiteX9" fmla="*/ 217249 w 235169"/>
                  <a:gd name="connsiteY9" fmla="*/ 272745 h 311281"/>
                  <a:gd name="connsiteX10" fmla="*/ 130595 w 235169"/>
                  <a:gd name="connsiteY10" fmla="*/ 311060 h 311281"/>
                  <a:gd name="connsiteX11" fmla="*/ 42158 w 235169"/>
                  <a:gd name="connsiteY11" fmla="*/ 285219 h 311281"/>
                  <a:gd name="connsiteX12" fmla="*/ 501 w 235169"/>
                  <a:gd name="connsiteY12" fmla="*/ 198565 h 311281"/>
                  <a:gd name="connsiteX13" fmla="*/ 501 w 235169"/>
                  <a:gd name="connsiteY13" fmla="*/ 114138 h 311281"/>
                  <a:gd name="connsiteX14" fmla="*/ 68444 w 235169"/>
                  <a:gd name="connsiteY14" fmla="*/ 8994 h 311281"/>
                  <a:gd name="connsiteX15" fmla="*/ 211457 w 235169"/>
                  <a:gd name="connsiteY15" fmla="*/ 44191 h 311281"/>
                  <a:gd name="connsiteX16" fmla="*/ 235070 w 235169"/>
                  <a:gd name="connsiteY16" fmla="*/ 113247 h 311281"/>
                  <a:gd name="connsiteX17" fmla="*/ 235070 w 235169"/>
                  <a:gd name="connsiteY17" fmla="*/ 156686 h 311281"/>
                  <a:gd name="connsiteX18" fmla="*/ 214576 w 235169"/>
                  <a:gd name="connsiteY18" fmla="*/ 177180 h 311281"/>
                  <a:gd name="connsiteX19" fmla="*/ 142178 w 235169"/>
                  <a:gd name="connsiteY19" fmla="*/ 177180 h 311281"/>
                  <a:gd name="connsiteX20" fmla="*/ 117674 w 235169"/>
                  <a:gd name="connsiteY20" fmla="*/ 127281 h 311281"/>
                  <a:gd name="connsiteX21" fmla="*/ 168241 w 235169"/>
                  <a:gd name="connsiteY21" fmla="*/ 127281 h 311281"/>
                  <a:gd name="connsiteX22" fmla="*/ 175815 w 235169"/>
                  <a:gd name="connsiteY22" fmla="*/ 119707 h 311281"/>
                  <a:gd name="connsiteX23" fmla="*/ 174701 w 235169"/>
                  <a:gd name="connsiteY23" fmla="*/ 104782 h 311281"/>
                  <a:gd name="connsiteX24" fmla="*/ 138837 w 235169"/>
                  <a:gd name="connsiteY24" fmla="*/ 59784 h 311281"/>
                  <a:gd name="connsiteX25" fmla="*/ 101413 w 235169"/>
                  <a:gd name="connsiteY25" fmla="*/ 58225 h 311281"/>
                  <a:gd name="connsiteX26" fmla="*/ 66662 w 235169"/>
                  <a:gd name="connsiteY26" fmla="*/ 85624 h 311281"/>
                  <a:gd name="connsiteX27" fmla="*/ 60202 w 235169"/>
                  <a:gd name="connsiteY27" fmla="*/ 119707 h 311281"/>
                  <a:gd name="connsiteX28" fmla="*/ 68221 w 235169"/>
                  <a:gd name="connsiteY28" fmla="*/ 127504 h 311281"/>
                  <a:gd name="connsiteX29" fmla="*/ 117674 w 235169"/>
                  <a:gd name="connsiteY29" fmla="*/ 127281 h 311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5169" h="311281">
                    <a:moveTo>
                      <a:pt x="142178" y="177180"/>
                    </a:moveTo>
                    <a:cubicBezTo>
                      <a:pt x="117897" y="177180"/>
                      <a:pt x="93616" y="177180"/>
                      <a:pt x="69335" y="177180"/>
                    </a:cubicBezTo>
                    <a:cubicBezTo>
                      <a:pt x="61761" y="177180"/>
                      <a:pt x="60424" y="178516"/>
                      <a:pt x="60424" y="186313"/>
                    </a:cubicBezTo>
                    <a:cubicBezTo>
                      <a:pt x="60424" y="196114"/>
                      <a:pt x="60202" y="205916"/>
                      <a:pt x="63098" y="215495"/>
                    </a:cubicBezTo>
                    <a:cubicBezTo>
                      <a:pt x="70449" y="240222"/>
                      <a:pt x="90052" y="253810"/>
                      <a:pt x="117229" y="255146"/>
                    </a:cubicBezTo>
                    <a:cubicBezTo>
                      <a:pt x="143069" y="256260"/>
                      <a:pt x="164232" y="247795"/>
                      <a:pt x="182053" y="229306"/>
                    </a:cubicBezTo>
                    <a:cubicBezTo>
                      <a:pt x="191186" y="219727"/>
                      <a:pt x="200542" y="219950"/>
                      <a:pt x="210343" y="228861"/>
                    </a:cubicBezTo>
                    <a:cubicBezTo>
                      <a:pt x="213908" y="231979"/>
                      <a:pt x="217472" y="235321"/>
                      <a:pt x="221036" y="238439"/>
                    </a:cubicBezTo>
                    <a:cubicBezTo>
                      <a:pt x="229278" y="246013"/>
                      <a:pt x="230615" y="254924"/>
                      <a:pt x="224377" y="264280"/>
                    </a:cubicBezTo>
                    <a:cubicBezTo>
                      <a:pt x="222373" y="267398"/>
                      <a:pt x="219922" y="270294"/>
                      <a:pt x="217249" y="272745"/>
                    </a:cubicBezTo>
                    <a:cubicBezTo>
                      <a:pt x="193191" y="296358"/>
                      <a:pt x="164454" y="309501"/>
                      <a:pt x="130595" y="311060"/>
                    </a:cubicBezTo>
                    <a:cubicBezTo>
                      <a:pt x="98071" y="312619"/>
                      <a:pt x="67998" y="306159"/>
                      <a:pt x="42158" y="285219"/>
                    </a:cubicBezTo>
                    <a:cubicBezTo>
                      <a:pt x="14758" y="262943"/>
                      <a:pt x="1392" y="233539"/>
                      <a:pt x="501" y="198565"/>
                    </a:cubicBezTo>
                    <a:cubicBezTo>
                      <a:pt x="-167" y="170497"/>
                      <a:pt x="-167" y="142206"/>
                      <a:pt x="501" y="114138"/>
                    </a:cubicBezTo>
                    <a:cubicBezTo>
                      <a:pt x="1615" y="66689"/>
                      <a:pt x="23891" y="26815"/>
                      <a:pt x="68444" y="8994"/>
                    </a:cubicBezTo>
                    <a:cubicBezTo>
                      <a:pt x="112551" y="-8604"/>
                      <a:pt x="176038" y="-2144"/>
                      <a:pt x="211457" y="44191"/>
                    </a:cubicBezTo>
                    <a:cubicBezTo>
                      <a:pt x="227051" y="64462"/>
                      <a:pt x="234625" y="87852"/>
                      <a:pt x="235070" y="113247"/>
                    </a:cubicBezTo>
                    <a:cubicBezTo>
                      <a:pt x="235293" y="127726"/>
                      <a:pt x="235070" y="142206"/>
                      <a:pt x="235070" y="156686"/>
                    </a:cubicBezTo>
                    <a:cubicBezTo>
                      <a:pt x="235070" y="170274"/>
                      <a:pt x="228164" y="177180"/>
                      <a:pt x="214576" y="177180"/>
                    </a:cubicBezTo>
                    <a:cubicBezTo>
                      <a:pt x="190740" y="177402"/>
                      <a:pt x="166459" y="177180"/>
                      <a:pt x="142178" y="177180"/>
                    </a:cubicBezTo>
                    <a:moveTo>
                      <a:pt x="117674" y="127281"/>
                    </a:moveTo>
                    <a:cubicBezTo>
                      <a:pt x="134604" y="127281"/>
                      <a:pt x="151311" y="127281"/>
                      <a:pt x="168241" y="127281"/>
                    </a:cubicBezTo>
                    <a:cubicBezTo>
                      <a:pt x="174033" y="127281"/>
                      <a:pt x="175593" y="125499"/>
                      <a:pt x="175815" y="119707"/>
                    </a:cubicBezTo>
                    <a:cubicBezTo>
                      <a:pt x="176038" y="114806"/>
                      <a:pt x="175815" y="109683"/>
                      <a:pt x="174701" y="104782"/>
                    </a:cubicBezTo>
                    <a:cubicBezTo>
                      <a:pt x="170469" y="83619"/>
                      <a:pt x="161113" y="66467"/>
                      <a:pt x="138837" y="59784"/>
                    </a:cubicBezTo>
                    <a:cubicBezTo>
                      <a:pt x="126585" y="56220"/>
                      <a:pt x="114110" y="56220"/>
                      <a:pt x="101413" y="58225"/>
                    </a:cubicBezTo>
                    <a:cubicBezTo>
                      <a:pt x="84705" y="60898"/>
                      <a:pt x="73345" y="70031"/>
                      <a:pt x="66662" y="85624"/>
                    </a:cubicBezTo>
                    <a:cubicBezTo>
                      <a:pt x="61984" y="96540"/>
                      <a:pt x="59979" y="107901"/>
                      <a:pt x="60202" y="119707"/>
                    </a:cubicBezTo>
                    <a:cubicBezTo>
                      <a:pt x="60424" y="125944"/>
                      <a:pt x="61761" y="127504"/>
                      <a:pt x="68221" y="127504"/>
                    </a:cubicBezTo>
                    <a:cubicBezTo>
                      <a:pt x="84928" y="127281"/>
                      <a:pt x="101413" y="127281"/>
                      <a:pt x="117674" y="127281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1" name="Graphic 13">
                <a:extLst>
                  <a:ext uri="{FF2B5EF4-FFF2-40B4-BE49-F238E27FC236}">
                    <a16:creationId xmlns:a16="http://schemas.microsoft.com/office/drawing/2014/main" id="{70F7127A-D1D2-496B-8E4C-F945252778D3}"/>
                  </a:ext>
                </a:extLst>
              </p:cNvPr>
              <p:cNvSpPr/>
              <p:nvPr/>
            </p:nvSpPr>
            <p:spPr>
              <a:xfrm>
                <a:off x="2003393" y="1130406"/>
                <a:ext cx="235998" cy="311136"/>
              </a:xfrm>
              <a:custGeom>
                <a:avLst/>
                <a:gdLst>
                  <a:gd name="connsiteX0" fmla="*/ 143043 w 235998"/>
                  <a:gd name="connsiteY0" fmla="*/ 176908 h 311136"/>
                  <a:gd name="connsiteX1" fmla="*/ 69754 w 235998"/>
                  <a:gd name="connsiteY1" fmla="*/ 176908 h 311136"/>
                  <a:gd name="connsiteX2" fmla="*/ 60398 w 235998"/>
                  <a:gd name="connsiteY2" fmla="*/ 186264 h 311136"/>
                  <a:gd name="connsiteX3" fmla="*/ 62403 w 235998"/>
                  <a:gd name="connsiteY3" fmla="*/ 212773 h 311136"/>
                  <a:gd name="connsiteX4" fmla="*/ 112970 w 235998"/>
                  <a:gd name="connsiteY4" fmla="*/ 254430 h 311136"/>
                  <a:gd name="connsiteX5" fmla="*/ 182027 w 235998"/>
                  <a:gd name="connsiteY5" fmla="*/ 228812 h 311136"/>
                  <a:gd name="connsiteX6" fmla="*/ 209872 w 235998"/>
                  <a:gd name="connsiteY6" fmla="*/ 228144 h 311136"/>
                  <a:gd name="connsiteX7" fmla="*/ 220564 w 235998"/>
                  <a:gd name="connsiteY7" fmla="*/ 237722 h 311136"/>
                  <a:gd name="connsiteX8" fmla="*/ 223683 w 235998"/>
                  <a:gd name="connsiteY8" fmla="*/ 264899 h 311136"/>
                  <a:gd name="connsiteX9" fmla="*/ 200739 w 235998"/>
                  <a:gd name="connsiteY9" fmla="*/ 286507 h 311136"/>
                  <a:gd name="connsiteX10" fmla="*/ 44582 w 235998"/>
                  <a:gd name="connsiteY10" fmla="*/ 286953 h 311136"/>
                  <a:gd name="connsiteX11" fmla="*/ 921 w 235998"/>
                  <a:gd name="connsiteY11" fmla="*/ 201412 h 311136"/>
                  <a:gd name="connsiteX12" fmla="*/ 921 w 235998"/>
                  <a:gd name="connsiteY12" fmla="*/ 109634 h 311136"/>
                  <a:gd name="connsiteX13" fmla="*/ 103837 w 235998"/>
                  <a:gd name="connsiteY13" fmla="*/ 480 h 311136"/>
                  <a:gd name="connsiteX14" fmla="*/ 200293 w 235998"/>
                  <a:gd name="connsiteY14" fmla="*/ 31222 h 311136"/>
                  <a:gd name="connsiteX15" fmla="*/ 234599 w 235998"/>
                  <a:gd name="connsiteY15" fmla="*/ 100278 h 311136"/>
                  <a:gd name="connsiteX16" fmla="*/ 235712 w 235998"/>
                  <a:gd name="connsiteY16" fmla="*/ 158642 h 311136"/>
                  <a:gd name="connsiteX17" fmla="*/ 216555 w 235998"/>
                  <a:gd name="connsiteY17" fmla="*/ 176686 h 311136"/>
                  <a:gd name="connsiteX18" fmla="*/ 143043 w 235998"/>
                  <a:gd name="connsiteY18" fmla="*/ 176908 h 311136"/>
                  <a:gd name="connsiteX19" fmla="*/ 118094 w 235998"/>
                  <a:gd name="connsiteY19" fmla="*/ 127232 h 311136"/>
                  <a:gd name="connsiteX20" fmla="*/ 137474 w 235998"/>
                  <a:gd name="connsiteY20" fmla="*/ 127232 h 311136"/>
                  <a:gd name="connsiteX21" fmla="*/ 167547 w 235998"/>
                  <a:gd name="connsiteY21" fmla="*/ 127232 h 311136"/>
                  <a:gd name="connsiteX22" fmla="*/ 175789 w 235998"/>
                  <a:gd name="connsiteY22" fmla="*/ 118767 h 311136"/>
                  <a:gd name="connsiteX23" fmla="*/ 175567 w 235998"/>
                  <a:gd name="connsiteY23" fmla="*/ 109411 h 311136"/>
                  <a:gd name="connsiteX24" fmla="*/ 134133 w 235998"/>
                  <a:gd name="connsiteY24" fmla="*/ 58176 h 311136"/>
                  <a:gd name="connsiteX25" fmla="*/ 106956 w 235998"/>
                  <a:gd name="connsiteY25" fmla="*/ 57062 h 311136"/>
                  <a:gd name="connsiteX26" fmla="*/ 70868 w 235998"/>
                  <a:gd name="connsiteY26" fmla="*/ 77556 h 311136"/>
                  <a:gd name="connsiteX27" fmla="*/ 60398 w 235998"/>
                  <a:gd name="connsiteY27" fmla="*/ 117208 h 311136"/>
                  <a:gd name="connsiteX28" fmla="*/ 70423 w 235998"/>
                  <a:gd name="connsiteY28" fmla="*/ 127232 h 311136"/>
                  <a:gd name="connsiteX29" fmla="*/ 118094 w 235998"/>
                  <a:gd name="connsiteY29" fmla="*/ 127232 h 311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35998" h="311136">
                    <a:moveTo>
                      <a:pt x="143043" y="176908"/>
                    </a:moveTo>
                    <a:cubicBezTo>
                      <a:pt x="118539" y="176908"/>
                      <a:pt x="94035" y="176908"/>
                      <a:pt x="69754" y="176908"/>
                    </a:cubicBezTo>
                    <a:cubicBezTo>
                      <a:pt x="61735" y="176908"/>
                      <a:pt x="60621" y="178245"/>
                      <a:pt x="60398" y="186264"/>
                    </a:cubicBezTo>
                    <a:cubicBezTo>
                      <a:pt x="60398" y="195175"/>
                      <a:pt x="60176" y="204085"/>
                      <a:pt x="62403" y="212773"/>
                    </a:cubicBezTo>
                    <a:cubicBezTo>
                      <a:pt x="68641" y="237500"/>
                      <a:pt x="87130" y="252425"/>
                      <a:pt x="112970" y="254430"/>
                    </a:cubicBezTo>
                    <a:cubicBezTo>
                      <a:pt x="140147" y="256657"/>
                      <a:pt x="163315" y="248861"/>
                      <a:pt x="182027" y="228812"/>
                    </a:cubicBezTo>
                    <a:cubicBezTo>
                      <a:pt x="190937" y="219456"/>
                      <a:pt x="200293" y="219456"/>
                      <a:pt x="209872" y="228144"/>
                    </a:cubicBezTo>
                    <a:cubicBezTo>
                      <a:pt x="213436" y="231485"/>
                      <a:pt x="217000" y="234604"/>
                      <a:pt x="220564" y="237722"/>
                    </a:cubicBezTo>
                    <a:cubicBezTo>
                      <a:pt x="229475" y="245742"/>
                      <a:pt x="230589" y="254875"/>
                      <a:pt x="223683" y="264899"/>
                    </a:cubicBezTo>
                    <a:cubicBezTo>
                      <a:pt x="217446" y="273587"/>
                      <a:pt x="209204" y="280270"/>
                      <a:pt x="200739" y="286507"/>
                    </a:cubicBezTo>
                    <a:cubicBezTo>
                      <a:pt x="154850" y="321036"/>
                      <a:pt x="83566" y="317471"/>
                      <a:pt x="44582" y="286953"/>
                    </a:cubicBezTo>
                    <a:cubicBezTo>
                      <a:pt x="16960" y="265122"/>
                      <a:pt x="2257" y="236386"/>
                      <a:pt x="921" y="201412"/>
                    </a:cubicBezTo>
                    <a:cubicBezTo>
                      <a:pt x="-193" y="170894"/>
                      <a:pt x="-416" y="140375"/>
                      <a:pt x="921" y="109634"/>
                    </a:cubicBezTo>
                    <a:cubicBezTo>
                      <a:pt x="3594" y="42805"/>
                      <a:pt x="50151" y="4490"/>
                      <a:pt x="103837" y="480"/>
                    </a:cubicBezTo>
                    <a:cubicBezTo>
                      <a:pt x="140147" y="-2193"/>
                      <a:pt x="172893" y="6050"/>
                      <a:pt x="200293" y="31222"/>
                    </a:cubicBezTo>
                    <a:cubicBezTo>
                      <a:pt x="220342" y="49934"/>
                      <a:pt x="231034" y="73324"/>
                      <a:pt x="234599" y="100278"/>
                    </a:cubicBezTo>
                    <a:cubicBezTo>
                      <a:pt x="237049" y="119658"/>
                      <a:pt x="235490" y="139039"/>
                      <a:pt x="235712" y="158642"/>
                    </a:cubicBezTo>
                    <a:cubicBezTo>
                      <a:pt x="235712" y="169557"/>
                      <a:pt x="227916" y="176463"/>
                      <a:pt x="216555" y="176686"/>
                    </a:cubicBezTo>
                    <a:cubicBezTo>
                      <a:pt x="192051" y="176908"/>
                      <a:pt x="167547" y="176908"/>
                      <a:pt x="143043" y="176908"/>
                    </a:cubicBezTo>
                    <a:moveTo>
                      <a:pt x="118094" y="127232"/>
                    </a:moveTo>
                    <a:lnTo>
                      <a:pt x="137474" y="127232"/>
                    </a:lnTo>
                    <a:cubicBezTo>
                      <a:pt x="147498" y="127232"/>
                      <a:pt x="157523" y="127455"/>
                      <a:pt x="167547" y="127232"/>
                    </a:cubicBezTo>
                    <a:cubicBezTo>
                      <a:pt x="174007" y="127010"/>
                      <a:pt x="175567" y="125450"/>
                      <a:pt x="175789" y="118767"/>
                    </a:cubicBezTo>
                    <a:cubicBezTo>
                      <a:pt x="175789" y="115649"/>
                      <a:pt x="175789" y="112530"/>
                      <a:pt x="175567" y="109411"/>
                    </a:cubicBezTo>
                    <a:cubicBezTo>
                      <a:pt x="173339" y="87358"/>
                      <a:pt x="161978" y="63299"/>
                      <a:pt x="134133" y="58176"/>
                    </a:cubicBezTo>
                    <a:cubicBezTo>
                      <a:pt x="125222" y="56394"/>
                      <a:pt x="116089" y="55948"/>
                      <a:pt x="106956" y="57062"/>
                    </a:cubicBezTo>
                    <a:cubicBezTo>
                      <a:pt x="92031" y="58621"/>
                      <a:pt x="79110" y="63968"/>
                      <a:pt x="70868" y="77556"/>
                    </a:cubicBezTo>
                    <a:cubicBezTo>
                      <a:pt x="63517" y="89808"/>
                      <a:pt x="60398" y="103174"/>
                      <a:pt x="60398" y="117208"/>
                    </a:cubicBezTo>
                    <a:cubicBezTo>
                      <a:pt x="60398" y="125896"/>
                      <a:pt x="61512" y="127232"/>
                      <a:pt x="70423" y="127232"/>
                    </a:cubicBezTo>
                    <a:cubicBezTo>
                      <a:pt x="86239" y="127455"/>
                      <a:pt x="102278" y="127232"/>
                      <a:pt x="118094" y="127232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2" name="Graphic 13">
                <a:extLst>
                  <a:ext uri="{FF2B5EF4-FFF2-40B4-BE49-F238E27FC236}">
                    <a16:creationId xmlns:a16="http://schemas.microsoft.com/office/drawing/2014/main" id="{2C7653FB-B562-4D92-AABC-AE78B3B9D24D}"/>
                  </a:ext>
                </a:extLst>
              </p:cNvPr>
              <p:cNvSpPr/>
              <p:nvPr/>
            </p:nvSpPr>
            <p:spPr>
              <a:xfrm>
                <a:off x="1173187" y="1140242"/>
                <a:ext cx="244231" cy="304070"/>
              </a:xfrm>
              <a:custGeom>
                <a:avLst/>
                <a:gdLst>
                  <a:gd name="connsiteX0" fmla="*/ 244148 w 244231"/>
                  <a:gd name="connsiteY0" fmla="*/ 180215 h 304070"/>
                  <a:gd name="connsiteX1" fmla="*/ 244148 w 244231"/>
                  <a:gd name="connsiteY1" fmla="*/ 77299 h 304070"/>
                  <a:gd name="connsiteX2" fmla="*/ 244148 w 244231"/>
                  <a:gd name="connsiteY2" fmla="*/ 55691 h 304070"/>
                  <a:gd name="connsiteX3" fmla="*/ 244148 w 244231"/>
                  <a:gd name="connsiteY3" fmla="*/ 21385 h 304070"/>
                  <a:gd name="connsiteX4" fmla="*/ 244148 w 244231"/>
                  <a:gd name="connsiteY4" fmla="*/ 20494 h 304070"/>
                  <a:gd name="connsiteX5" fmla="*/ 244148 w 244231"/>
                  <a:gd name="connsiteY5" fmla="*/ 20049 h 304070"/>
                  <a:gd name="connsiteX6" fmla="*/ 242143 w 244231"/>
                  <a:gd name="connsiteY6" fmla="*/ 9802 h 304070"/>
                  <a:gd name="connsiteX7" fmla="*/ 242143 w 244231"/>
                  <a:gd name="connsiteY7" fmla="*/ 9802 h 304070"/>
                  <a:gd name="connsiteX8" fmla="*/ 241697 w 244231"/>
                  <a:gd name="connsiteY8" fmla="*/ 8910 h 304070"/>
                  <a:gd name="connsiteX9" fmla="*/ 236128 w 244231"/>
                  <a:gd name="connsiteY9" fmla="*/ 2896 h 304070"/>
                  <a:gd name="connsiteX10" fmla="*/ 236128 w 244231"/>
                  <a:gd name="connsiteY10" fmla="*/ 2896 h 304070"/>
                  <a:gd name="connsiteX11" fmla="*/ 235683 w 244231"/>
                  <a:gd name="connsiteY11" fmla="*/ 2673 h 304070"/>
                  <a:gd name="connsiteX12" fmla="*/ 224099 w 244231"/>
                  <a:gd name="connsiteY12" fmla="*/ 0 h 304070"/>
                  <a:gd name="connsiteX13" fmla="*/ 222985 w 244231"/>
                  <a:gd name="connsiteY13" fmla="*/ 0 h 304070"/>
                  <a:gd name="connsiteX14" fmla="*/ 222762 w 244231"/>
                  <a:gd name="connsiteY14" fmla="*/ 0 h 304070"/>
                  <a:gd name="connsiteX15" fmla="*/ 213406 w 244231"/>
                  <a:gd name="connsiteY15" fmla="*/ 0 h 304070"/>
                  <a:gd name="connsiteX16" fmla="*/ 203828 w 244231"/>
                  <a:gd name="connsiteY16" fmla="*/ 0 h 304070"/>
                  <a:gd name="connsiteX17" fmla="*/ 203605 w 244231"/>
                  <a:gd name="connsiteY17" fmla="*/ 0 h 304070"/>
                  <a:gd name="connsiteX18" fmla="*/ 202937 w 244231"/>
                  <a:gd name="connsiteY18" fmla="*/ 0 h 304070"/>
                  <a:gd name="connsiteX19" fmla="*/ 192467 w 244231"/>
                  <a:gd name="connsiteY19" fmla="*/ 1782 h 304070"/>
                  <a:gd name="connsiteX20" fmla="*/ 192021 w 244231"/>
                  <a:gd name="connsiteY20" fmla="*/ 2005 h 304070"/>
                  <a:gd name="connsiteX21" fmla="*/ 191130 w 244231"/>
                  <a:gd name="connsiteY21" fmla="*/ 2450 h 304070"/>
                  <a:gd name="connsiteX22" fmla="*/ 190016 w 244231"/>
                  <a:gd name="connsiteY22" fmla="*/ 2896 h 304070"/>
                  <a:gd name="connsiteX23" fmla="*/ 190016 w 244231"/>
                  <a:gd name="connsiteY23" fmla="*/ 2896 h 304070"/>
                  <a:gd name="connsiteX24" fmla="*/ 187120 w 244231"/>
                  <a:gd name="connsiteY24" fmla="*/ 5124 h 304070"/>
                  <a:gd name="connsiteX25" fmla="*/ 181774 w 244231"/>
                  <a:gd name="connsiteY25" fmla="*/ 20940 h 304070"/>
                  <a:gd name="connsiteX26" fmla="*/ 181774 w 244231"/>
                  <a:gd name="connsiteY26" fmla="*/ 79749 h 304070"/>
                  <a:gd name="connsiteX27" fmla="*/ 181774 w 244231"/>
                  <a:gd name="connsiteY27" fmla="*/ 187120 h 304070"/>
                  <a:gd name="connsiteX28" fmla="*/ 181106 w 244231"/>
                  <a:gd name="connsiteY28" fmla="*/ 196254 h 304070"/>
                  <a:gd name="connsiteX29" fmla="*/ 180883 w 244231"/>
                  <a:gd name="connsiteY29" fmla="*/ 197145 h 304070"/>
                  <a:gd name="connsiteX30" fmla="*/ 175314 w 244231"/>
                  <a:gd name="connsiteY30" fmla="*/ 215634 h 304070"/>
                  <a:gd name="connsiteX31" fmla="*/ 162171 w 244231"/>
                  <a:gd name="connsiteY31" fmla="*/ 233901 h 304070"/>
                  <a:gd name="connsiteX32" fmla="*/ 149474 w 244231"/>
                  <a:gd name="connsiteY32" fmla="*/ 242588 h 304070"/>
                  <a:gd name="connsiteX33" fmla="*/ 148805 w 244231"/>
                  <a:gd name="connsiteY33" fmla="*/ 242811 h 304070"/>
                  <a:gd name="connsiteX34" fmla="*/ 124079 w 244231"/>
                  <a:gd name="connsiteY34" fmla="*/ 247712 h 304070"/>
                  <a:gd name="connsiteX35" fmla="*/ 122074 w 244231"/>
                  <a:gd name="connsiteY35" fmla="*/ 247712 h 304070"/>
                  <a:gd name="connsiteX36" fmla="*/ 120069 w 244231"/>
                  <a:gd name="connsiteY36" fmla="*/ 247712 h 304070"/>
                  <a:gd name="connsiteX37" fmla="*/ 95342 w 244231"/>
                  <a:gd name="connsiteY37" fmla="*/ 242811 h 304070"/>
                  <a:gd name="connsiteX38" fmla="*/ 94674 w 244231"/>
                  <a:gd name="connsiteY38" fmla="*/ 242588 h 304070"/>
                  <a:gd name="connsiteX39" fmla="*/ 81977 w 244231"/>
                  <a:gd name="connsiteY39" fmla="*/ 233901 h 304070"/>
                  <a:gd name="connsiteX40" fmla="*/ 68834 w 244231"/>
                  <a:gd name="connsiteY40" fmla="*/ 215634 h 304070"/>
                  <a:gd name="connsiteX41" fmla="*/ 63265 w 244231"/>
                  <a:gd name="connsiteY41" fmla="*/ 197145 h 304070"/>
                  <a:gd name="connsiteX42" fmla="*/ 63042 w 244231"/>
                  <a:gd name="connsiteY42" fmla="*/ 196254 h 304070"/>
                  <a:gd name="connsiteX43" fmla="*/ 62373 w 244231"/>
                  <a:gd name="connsiteY43" fmla="*/ 187120 h 304070"/>
                  <a:gd name="connsiteX44" fmla="*/ 62373 w 244231"/>
                  <a:gd name="connsiteY44" fmla="*/ 79749 h 304070"/>
                  <a:gd name="connsiteX45" fmla="*/ 62373 w 244231"/>
                  <a:gd name="connsiteY45" fmla="*/ 20940 h 304070"/>
                  <a:gd name="connsiteX46" fmla="*/ 57027 w 244231"/>
                  <a:gd name="connsiteY46" fmla="*/ 5124 h 304070"/>
                  <a:gd name="connsiteX47" fmla="*/ 54131 w 244231"/>
                  <a:gd name="connsiteY47" fmla="*/ 2896 h 304070"/>
                  <a:gd name="connsiteX48" fmla="*/ 54131 w 244231"/>
                  <a:gd name="connsiteY48" fmla="*/ 2896 h 304070"/>
                  <a:gd name="connsiteX49" fmla="*/ 53018 w 244231"/>
                  <a:gd name="connsiteY49" fmla="*/ 2450 h 304070"/>
                  <a:gd name="connsiteX50" fmla="*/ 52126 w 244231"/>
                  <a:gd name="connsiteY50" fmla="*/ 2005 h 304070"/>
                  <a:gd name="connsiteX51" fmla="*/ 51681 w 244231"/>
                  <a:gd name="connsiteY51" fmla="*/ 1782 h 304070"/>
                  <a:gd name="connsiteX52" fmla="*/ 41211 w 244231"/>
                  <a:gd name="connsiteY52" fmla="*/ 0 h 304070"/>
                  <a:gd name="connsiteX53" fmla="*/ 40543 w 244231"/>
                  <a:gd name="connsiteY53" fmla="*/ 0 h 304070"/>
                  <a:gd name="connsiteX54" fmla="*/ 40320 w 244231"/>
                  <a:gd name="connsiteY54" fmla="*/ 0 h 304070"/>
                  <a:gd name="connsiteX55" fmla="*/ 30741 w 244231"/>
                  <a:gd name="connsiteY55" fmla="*/ 0 h 304070"/>
                  <a:gd name="connsiteX56" fmla="*/ 21385 w 244231"/>
                  <a:gd name="connsiteY56" fmla="*/ 0 h 304070"/>
                  <a:gd name="connsiteX57" fmla="*/ 21162 w 244231"/>
                  <a:gd name="connsiteY57" fmla="*/ 0 h 304070"/>
                  <a:gd name="connsiteX58" fmla="*/ 20049 w 244231"/>
                  <a:gd name="connsiteY58" fmla="*/ 0 h 304070"/>
                  <a:gd name="connsiteX59" fmla="*/ 8465 w 244231"/>
                  <a:gd name="connsiteY59" fmla="*/ 2673 h 304070"/>
                  <a:gd name="connsiteX60" fmla="*/ 8019 w 244231"/>
                  <a:gd name="connsiteY60" fmla="*/ 2896 h 304070"/>
                  <a:gd name="connsiteX61" fmla="*/ 8019 w 244231"/>
                  <a:gd name="connsiteY61" fmla="*/ 2896 h 304070"/>
                  <a:gd name="connsiteX62" fmla="*/ 2450 w 244231"/>
                  <a:gd name="connsiteY62" fmla="*/ 8910 h 304070"/>
                  <a:gd name="connsiteX63" fmla="*/ 2005 w 244231"/>
                  <a:gd name="connsiteY63" fmla="*/ 9802 h 304070"/>
                  <a:gd name="connsiteX64" fmla="*/ 2005 w 244231"/>
                  <a:gd name="connsiteY64" fmla="*/ 9802 h 304070"/>
                  <a:gd name="connsiteX65" fmla="*/ 0 w 244231"/>
                  <a:gd name="connsiteY65" fmla="*/ 20049 h 304070"/>
                  <a:gd name="connsiteX66" fmla="*/ 0 w 244231"/>
                  <a:gd name="connsiteY66" fmla="*/ 20494 h 304070"/>
                  <a:gd name="connsiteX67" fmla="*/ 0 w 244231"/>
                  <a:gd name="connsiteY67" fmla="*/ 21385 h 304070"/>
                  <a:gd name="connsiteX68" fmla="*/ 0 w 244231"/>
                  <a:gd name="connsiteY68" fmla="*/ 55691 h 304070"/>
                  <a:gd name="connsiteX69" fmla="*/ 0 w 244231"/>
                  <a:gd name="connsiteY69" fmla="*/ 77299 h 304070"/>
                  <a:gd name="connsiteX70" fmla="*/ 0 w 244231"/>
                  <a:gd name="connsiteY70" fmla="*/ 180215 h 304070"/>
                  <a:gd name="connsiteX71" fmla="*/ 668 w 244231"/>
                  <a:gd name="connsiteY71" fmla="*/ 198481 h 304070"/>
                  <a:gd name="connsiteX72" fmla="*/ 2228 w 244231"/>
                  <a:gd name="connsiteY72" fmla="*/ 208728 h 304070"/>
                  <a:gd name="connsiteX73" fmla="*/ 100911 w 244231"/>
                  <a:gd name="connsiteY73" fmla="*/ 302734 h 304070"/>
                  <a:gd name="connsiteX74" fmla="*/ 102025 w 244231"/>
                  <a:gd name="connsiteY74" fmla="*/ 302957 h 304070"/>
                  <a:gd name="connsiteX75" fmla="*/ 104030 w 244231"/>
                  <a:gd name="connsiteY75" fmla="*/ 303180 h 304070"/>
                  <a:gd name="connsiteX76" fmla="*/ 104698 w 244231"/>
                  <a:gd name="connsiteY76" fmla="*/ 303180 h 304070"/>
                  <a:gd name="connsiteX77" fmla="*/ 117619 w 244231"/>
                  <a:gd name="connsiteY77" fmla="*/ 304071 h 304070"/>
                  <a:gd name="connsiteX78" fmla="*/ 120292 w 244231"/>
                  <a:gd name="connsiteY78" fmla="*/ 304071 h 304070"/>
                  <a:gd name="connsiteX79" fmla="*/ 120960 w 244231"/>
                  <a:gd name="connsiteY79" fmla="*/ 304071 h 304070"/>
                  <a:gd name="connsiteX80" fmla="*/ 122074 w 244231"/>
                  <a:gd name="connsiteY80" fmla="*/ 304071 h 304070"/>
                  <a:gd name="connsiteX81" fmla="*/ 123188 w 244231"/>
                  <a:gd name="connsiteY81" fmla="*/ 304071 h 304070"/>
                  <a:gd name="connsiteX82" fmla="*/ 123856 w 244231"/>
                  <a:gd name="connsiteY82" fmla="*/ 304071 h 304070"/>
                  <a:gd name="connsiteX83" fmla="*/ 126529 w 244231"/>
                  <a:gd name="connsiteY83" fmla="*/ 304071 h 304070"/>
                  <a:gd name="connsiteX84" fmla="*/ 139449 w 244231"/>
                  <a:gd name="connsiteY84" fmla="*/ 303180 h 304070"/>
                  <a:gd name="connsiteX85" fmla="*/ 140118 w 244231"/>
                  <a:gd name="connsiteY85" fmla="*/ 303180 h 304070"/>
                  <a:gd name="connsiteX86" fmla="*/ 142122 w 244231"/>
                  <a:gd name="connsiteY86" fmla="*/ 302957 h 304070"/>
                  <a:gd name="connsiteX87" fmla="*/ 143236 w 244231"/>
                  <a:gd name="connsiteY87" fmla="*/ 302734 h 304070"/>
                  <a:gd name="connsiteX88" fmla="*/ 241920 w 244231"/>
                  <a:gd name="connsiteY88" fmla="*/ 208728 h 304070"/>
                  <a:gd name="connsiteX89" fmla="*/ 243479 w 244231"/>
                  <a:gd name="connsiteY89" fmla="*/ 198481 h 304070"/>
                  <a:gd name="connsiteX90" fmla="*/ 244148 w 244231"/>
                  <a:gd name="connsiteY90" fmla="*/ 180215 h 3040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244231" h="304070">
                    <a:moveTo>
                      <a:pt x="244148" y="180215"/>
                    </a:moveTo>
                    <a:cubicBezTo>
                      <a:pt x="244148" y="145909"/>
                      <a:pt x="244148" y="111604"/>
                      <a:pt x="244148" y="77299"/>
                    </a:cubicBezTo>
                    <a:cubicBezTo>
                      <a:pt x="244148" y="70170"/>
                      <a:pt x="244148" y="62819"/>
                      <a:pt x="244148" y="55691"/>
                    </a:cubicBezTo>
                    <a:cubicBezTo>
                      <a:pt x="244148" y="44330"/>
                      <a:pt x="244148" y="32746"/>
                      <a:pt x="244148" y="21385"/>
                    </a:cubicBezTo>
                    <a:cubicBezTo>
                      <a:pt x="244148" y="21162"/>
                      <a:pt x="244148" y="20717"/>
                      <a:pt x="244148" y="20494"/>
                    </a:cubicBezTo>
                    <a:cubicBezTo>
                      <a:pt x="244148" y="20271"/>
                      <a:pt x="244148" y="20049"/>
                      <a:pt x="244148" y="20049"/>
                    </a:cubicBezTo>
                    <a:cubicBezTo>
                      <a:pt x="244148" y="16039"/>
                      <a:pt x="243479" y="12475"/>
                      <a:pt x="242143" y="9802"/>
                    </a:cubicBezTo>
                    <a:cubicBezTo>
                      <a:pt x="242143" y="9802"/>
                      <a:pt x="242143" y="9802"/>
                      <a:pt x="242143" y="9802"/>
                    </a:cubicBezTo>
                    <a:cubicBezTo>
                      <a:pt x="241920" y="9579"/>
                      <a:pt x="241920" y="9133"/>
                      <a:pt x="241697" y="8910"/>
                    </a:cubicBezTo>
                    <a:cubicBezTo>
                      <a:pt x="240361" y="6237"/>
                      <a:pt x="238579" y="4233"/>
                      <a:pt x="236128" y="2896"/>
                    </a:cubicBezTo>
                    <a:cubicBezTo>
                      <a:pt x="236128" y="2896"/>
                      <a:pt x="236128" y="2896"/>
                      <a:pt x="236128" y="2896"/>
                    </a:cubicBezTo>
                    <a:cubicBezTo>
                      <a:pt x="235905" y="2896"/>
                      <a:pt x="235905" y="2673"/>
                      <a:pt x="235683" y="2673"/>
                    </a:cubicBezTo>
                    <a:cubicBezTo>
                      <a:pt x="232564" y="891"/>
                      <a:pt x="228777" y="0"/>
                      <a:pt x="224099" y="0"/>
                    </a:cubicBezTo>
                    <a:lnTo>
                      <a:pt x="222985" y="0"/>
                    </a:lnTo>
                    <a:cubicBezTo>
                      <a:pt x="222985" y="0"/>
                      <a:pt x="222762" y="0"/>
                      <a:pt x="222762" y="0"/>
                    </a:cubicBezTo>
                    <a:lnTo>
                      <a:pt x="213406" y="0"/>
                    </a:lnTo>
                    <a:lnTo>
                      <a:pt x="203828" y="0"/>
                    </a:lnTo>
                    <a:cubicBezTo>
                      <a:pt x="203828" y="0"/>
                      <a:pt x="203605" y="0"/>
                      <a:pt x="203605" y="0"/>
                    </a:cubicBezTo>
                    <a:lnTo>
                      <a:pt x="202937" y="0"/>
                    </a:lnTo>
                    <a:cubicBezTo>
                      <a:pt x="198927" y="0"/>
                      <a:pt x="195363" y="668"/>
                      <a:pt x="192467" y="1782"/>
                    </a:cubicBezTo>
                    <a:cubicBezTo>
                      <a:pt x="192244" y="1782"/>
                      <a:pt x="192244" y="1782"/>
                      <a:pt x="192021" y="2005"/>
                    </a:cubicBezTo>
                    <a:cubicBezTo>
                      <a:pt x="191798" y="2228"/>
                      <a:pt x="191576" y="2228"/>
                      <a:pt x="191130" y="2450"/>
                    </a:cubicBezTo>
                    <a:cubicBezTo>
                      <a:pt x="190685" y="2673"/>
                      <a:pt x="190462" y="2896"/>
                      <a:pt x="190016" y="2896"/>
                    </a:cubicBezTo>
                    <a:cubicBezTo>
                      <a:pt x="190016" y="2896"/>
                      <a:pt x="190016" y="2896"/>
                      <a:pt x="190016" y="2896"/>
                    </a:cubicBezTo>
                    <a:cubicBezTo>
                      <a:pt x="188903" y="3564"/>
                      <a:pt x="188012" y="4233"/>
                      <a:pt x="187120" y="5124"/>
                    </a:cubicBezTo>
                    <a:cubicBezTo>
                      <a:pt x="183556" y="8688"/>
                      <a:pt x="181774" y="13811"/>
                      <a:pt x="181774" y="20940"/>
                    </a:cubicBezTo>
                    <a:cubicBezTo>
                      <a:pt x="181774" y="40543"/>
                      <a:pt x="181774" y="60146"/>
                      <a:pt x="181774" y="79749"/>
                    </a:cubicBezTo>
                    <a:cubicBezTo>
                      <a:pt x="181774" y="115614"/>
                      <a:pt x="181997" y="151256"/>
                      <a:pt x="181774" y="187120"/>
                    </a:cubicBezTo>
                    <a:cubicBezTo>
                      <a:pt x="181774" y="190239"/>
                      <a:pt x="181551" y="193358"/>
                      <a:pt x="181106" y="196254"/>
                    </a:cubicBezTo>
                    <a:cubicBezTo>
                      <a:pt x="181106" y="196477"/>
                      <a:pt x="181106" y="196922"/>
                      <a:pt x="180883" y="197145"/>
                    </a:cubicBezTo>
                    <a:cubicBezTo>
                      <a:pt x="179547" y="203605"/>
                      <a:pt x="177987" y="209842"/>
                      <a:pt x="175314" y="215634"/>
                    </a:cubicBezTo>
                    <a:cubicBezTo>
                      <a:pt x="172195" y="222317"/>
                      <a:pt x="167740" y="228332"/>
                      <a:pt x="162171" y="233901"/>
                    </a:cubicBezTo>
                    <a:cubicBezTo>
                      <a:pt x="158384" y="237688"/>
                      <a:pt x="153929" y="240361"/>
                      <a:pt x="149474" y="242588"/>
                    </a:cubicBezTo>
                    <a:cubicBezTo>
                      <a:pt x="149251" y="242588"/>
                      <a:pt x="149028" y="242811"/>
                      <a:pt x="148805" y="242811"/>
                    </a:cubicBezTo>
                    <a:cubicBezTo>
                      <a:pt x="141231" y="246153"/>
                      <a:pt x="132766" y="247489"/>
                      <a:pt x="124079" y="247712"/>
                    </a:cubicBezTo>
                    <a:cubicBezTo>
                      <a:pt x="123410" y="247712"/>
                      <a:pt x="122742" y="247712"/>
                      <a:pt x="122074" y="247712"/>
                    </a:cubicBezTo>
                    <a:cubicBezTo>
                      <a:pt x="121406" y="247712"/>
                      <a:pt x="120737" y="247712"/>
                      <a:pt x="120069" y="247712"/>
                    </a:cubicBezTo>
                    <a:cubicBezTo>
                      <a:pt x="111381" y="247489"/>
                      <a:pt x="102916" y="246153"/>
                      <a:pt x="95342" y="242811"/>
                    </a:cubicBezTo>
                    <a:cubicBezTo>
                      <a:pt x="95120" y="242811"/>
                      <a:pt x="94897" y="242588"/>
                      <a:pt x="94674" y="242588"/>
                    </a:cubicBezTo>
                    <a:cubicBezTo>
                      <a:pt x="89996" y="240583"/>
                      <a:pt x="85764" y="237688"/>
                      <a:pt x="81977" y="233901"/>
                    </a:cubicBezTo>
                    <a:cubicBezTo>
                      <a:pt x="76408" y="228332"/>
                      <a:pt x="71952" y="222317"/>
                      <a:pt x="68834" y="215634"/>
                    </a:cubicBezTo>
                    <a:cubicBezTo>
                      <a:pt x="66383" y="209842"/>
                      <a:pt x="64601" y="203605"/>
                      <a:pt x="63265" y="197145"/>
                    </a:cubicBezTo>
                    <a:cubicBezTo>
                      <a:pt x="63265" y="196922"/>
                      <a:pt x="63265" y="196477"/>
                      <a:pt x="63042" y="196254"/>
                    </a:cubicBezTo>
                    <a:cubicBezTo>
                      <a:pt x="62596" y="193358"/>
                      <a:pt x="62373" y="190239"/>
                      <a:pt x="62373" y="187120"/>
                    </a:cubicBezTo>
                    <a:cubicBezTo>
                      <a:pt x="62151" y="151256"/>
                      <a:pt x="62373" y="115614"/>
                      <a:pt x="62373" y="79749"/>
                    </a:cubicBezTo>
                    <a:cubicBezTo>
                      <a:pt x="62373" y="60146"/>
                      <a:pt x="62373" y="40543"/>
                      <a:pt x="62373" y="20940"/>
                    </a:cubicBezTo>
                    <a:cubicBezTo>
                      <a:pt x="62373" y="14034"/>
                      <a:pt x="60591" y="8688"/>
                      <a:pt x="57027" y="5124"/>
                    </a:cubicBezTo>
                    <a:cubicBezTo>
                      <a:pt x="56136" y="4233"/>
                      <a:pt x="55245" y="3564"/>
                      <a:pt x="54131" y="2896"/>
                    </a:cubicBezTo>
                    <a:cubicBezTo>
                      <a:pt x="54131" y="2896"/>
                      <a:pt x="54131" y="2896"/>
                      <a:pt x="54131" y="2896"/>
                    </a:cubicBezTo>
                    <a:cubicBezTo>
                      <a:pt x="53909" y="2673"/>
                      <a:pt x="53463" y="2450"/>
                      <a:pt x="53018" y="2450"/>
                    </a:cubicBezTo>
                    <a:cubicBezTo>
                      <a:pt x="52795" y="2228"/>
                      <a:pt x="52572" y="2228"/>
                      <a:pt x="52126" y="2005"/>
                    </a:cubicBezTo>
                    <a:cubicBezTo>
                      <a:pt x="52126" y="2005"/>
                      <a:pt x="51904" y="2005"/>
                      <a:pt x="51681" y="1782"/>
                    </a:cubicBezTo>
                    <a:cubicBezTo>
                      <a:pt x="48785" y="446"/>
                      <a:pt x="45221" y="0"/>
                      <a:pt x="41211" y="0"/>
                    </a:cubicBezTo>
                    <a:lnTo>
                      <a:pt x="40543" y="0"/>
                    </a:lnTo>
                    <a:cubicBezTo>
                      <a:pt x="40543" y="0"/>
                      <a:pt x="40320" y="0"/>
                      <a:pt x="40320" y="0"/>
                    </a:cubicBezTo>
                    <a:lnTo>
                      <a:pt x="30741" y="0"/>
                    </a:lnTo>
                    <a:lnTo>
                      <a:pt x="21385" y="0"/>
                    </a:lnTo>
                    <a:cubicBezTo>
                      <a:pt x="21385" y="0"/>
                      <a:pt x="21162" y="0"/>
                      <a:pt x="21162" y="0"/>
                    </a:cubicBezTo>
                    <a:lnTo>
                      <a:pt x="20049" y="0"/>
                    </a:lnTo>
                    <a:cubicBezTo>
                      <a:pt x="15371" y="0"/>
                      <a:pt x="11361" y="891"/>
                      <a:pt x="8465" y="2673"/>
                    </a:cubicBezTo>
                    <a:cubicBezTo>
                      <a:pt x="8242" y="2673"/>
                      <a:pt x="8242" y="2896"/>
                      <a:pt x="8019" y="2896"/>
                    </a:cubicBezTo>
                    <a:cubicBezTo>
                      <a:pt x="8019" y="2896"/>
                      <a:pt x="8019" y="2896"/>
                      <a:pt x="8019" y="2896"/>
                    </a:cubicBezTo>
                    <a:cubicBezTo>
                      <a:pt x="5569" y="4455"/>
                      <a:pt x="3787" y="6460"/>
                      <a:pt x="2450" y="8910"/>
                    </a:cubicBezTo>
                    <a:cubicBezTo>
                      <a:pt x="2228" y="9133"/>
                      <a:pt x="2228" y="9579"/>
                      <a:pt x="2005" y="9802"/>
                    </a:cubicBezTo>
                    <a:cubicBezTo>
                      <a:pt x="2005" y="9802"/>
                      <a:pt x="2005" y="9802"/>
                      <a:pt x="2005" y="9802"/>
                    </a:cubicBezTo>
                    <a:cubicBezTo>
                      <a:pt x="668" y="12697"/>
                      <a:pt x="0" y="16039"/>
                      <a:pt x="0" y="20049"/>
                    </a:cubicBezTo>
                    <a:cubicBezTo>
                      <a:pt x="0" y="20271"/>
                      <a:pt x="0" y="20494"/>
                      <a:pt x="0" y="20494"/>
                    </a:cubicBezTo>
                    <a:cubicBezTo>
                      <a:pt x="0" y="20717"/>
                      <a:pt x="0" y="20940"/>
                      <a:pt x="0" y="21385"/>
                    </a:cubicBezTo>
                    <a:cubicBezTo>
                      <a:pt x="0" y="32746"/>
                      <a:pt x="0" y="44330"/>
                      <a:pt x="0" y="55691"/>
                    </a:cubicBezTo>
                    <a:cubicBezTo>
                      <a:pt x="0" y="62819"/>
                      <a:pt x="0" y="70170"/>
                      <a:pt x="0" y="77299"/>
                    </a:cubicBezTo>
                    <a:cubicBezTo>
                      <a:pt x="0" y="111604"/>
                      <a:pt x="0" y="145909"/>
                      <a:pt x="0" y="180215"/>
                    </a:cubicBezTo>
                    <a:cubicBezTo>
                      <a:pt x="0" y="186229"/>
                      <a:pt x="0" y="192467"/>
                      <a:pt x="668" y="198481"/>
                    </a:cubicBezTo>
                    <a:cubicBezTo>
                      <a:pt x="1114" y="202046"/>
                      <a:pt x="1559" y="205387"/>
                      <a:pt x="2228" y="208728"/>
                    </a:cubicBezTo>
                    <a:cubicBezTo>
                      <a:pt x="11138" y="259741"/>
                      <a:pt x="50790" y="296051"/>
                      <a:pt x="100911" y="302734"/>
                    </a:cubicBezTo>
                    <a:cubicBezTo>
                      <a:pt x="101357" y="302734"/>
                      <a:pt x="101580" y="302734"/>
                      <a:pt x="102025" y="302957"/>
                    </a:cubicBezTo>
                    <a:cubicBezTo>
                      <a:pt x="102694" y="302957"/>
                      <a:pt x="103362" y="303180"/>
                      <a:pt x="104030" y="303180"/>
                    </a:cubicBezTo>
                    <a:cubicBezTo>
                      <a:pt x="104253" y="303180"/>
                      <a:pt x="104476" y="303180"/>
                      <a:pt x="104698" y="303180"/>
                    </a:cubicBezTo>
                    <a:cubicBezTo>
                      <a:pt x="108931" y="303625"/>
                      <a:pt x="113163" y="303848"/>
                      <a:pt x="117619" y="304071"/>
                    </a:cubicBezTo>
                    <a:cubicBezTo>
                      <a:pt x="118510" y="304071"/>
                      <a:pt x="119401" y="304071"/>
                      <a:pt x="120292" y="304071"/>
                    </a:cubicBezTo>
                    <a:cubicBezTo>
                      <a:pt x="120515" y="304071"/>
                      <a:pt x="120737" y="304071"/>
                      <a:pt x="120960" y="304071"/>
                    </a:cubicBezTo>
                    <a:cubicBezTo>
                      <a:pt x="121406" y="304071"/>
                      <a:pt x="121628" y="304071"/>
                      <a:pt x="122074" y="304071"/>
                    </a:cubicBezTo>
                    <a:cubicBezTo>
                      <a:pt x="122519" y="304071"/>
                      <a:pt x="122742" y="304071"/>
                      <a:pt x="123188" y="304071"/>
                    </a:cubicBezTo>
                    <a:cubicBezTo>
                      <a:pt x="123410" y="304071"/>
                      <a:pt x="123633" y="304071"/>
                      <a:pt x="123856" y="304071"/>
                    </a:cubicBezTo>
                    <a:cubicBezTo>
                      <a:pt x="124747" y="304071"/>
                      <a:pt x="125638" y="304071"/>
                      <a:pt x="126529" y="304071"/>
                    </a:cubicBezTo>
                    <a:cubicBezTo>
                      <a:pt x="130984" y="304071"/>
                      <a:pt x="135217" y="303625"/>
                      <a:pt x="139449" y="303180"/>
                    </a:cubicBezTo>
                    <a:cubicBezTo>
                      <a:pt x="139672" y="303180"/>
                      <a:pt x="139895" y="303180"/>
                      <a:pt x="140118" y="303180"/>
                    </a:cubicBezTo>
                    <a:cubicBezTo>
                      <a:pt x="140786" y="303180"/>
                      <a:pt x="141454" y="302957"/>
                      <a:pt x="142122" y="302957"/>
                    </a:cubicBezTo>
                    <a:cubicBezTo>
                      <a:pt x="142568" y="302957"/>
                      <a:pt x="143014" y="302957"/>
                      <a:pt x="143236" y="302734"/>
                    </a:cubicBezTo>
                    <a:cubicBezTo>
                      <a:pt x="193358" y="296051"/>
                      <a:pt x="233010" y="259741"/>
                      <a:pt x="241920" y="208728"/>
                    </a:cubicBezTo>
                    <a:cubicBezTo>
                      <a:pt x="242588" y="205387"/>
                      <a:pt x="243034" y="202046"/>
                      <a:pt x="243479" y="198481"/>
                    </a:cubicBezTo>
                    <a:cubicBezTo>
                      <a:pt x="244148" y="192467"/>
                      <a:pt x="244370" y="186229"/>
                      <a:pt x="244148" y="180215"/>
                    </a:cubicBez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3" name="Graphic 13">
                <a:extLst>
                  <a:ext uri="{FF2B5EF4-FFF2-40B4-BE49-F238E27FC236}">
                    <a16:creationId xmlns:a16="http://schemas.microsoft.com/office/drawing/2014/main" id="{D9B21371-77D6-43B2-B38E-49978C03BDE3}"/>
                  </a:ext>
                </a:extLst>
              </p:cNvPr>
              <p:cNvSpPr/>
              <p:nvPr/>
            </p:nvSpPr>
            <p:spPr>
              <a:xfrm>
                <a:off x="610655" y="1130302"/>
                <a:ext cx="188725" cy="311338"/>
              </a:xfrm>
              <a:custGeom>
                <a:avLst/>
                <a:gdLst>
                  <a:gd name="connsiteX0" fmla="*/ 87157 w 188725"/>
                  <a:gd name="connsiteY0" fmla="*/ 311338 h 311338"/>
                  <a:gd name="connsiteX1" fmla="*/ 26788 w 188725"/>
                  <a:gd name="connsiteY1" fmla="*/ 297750 h 311338"/>
                  <a:gd name="connsiteX2" fmla="*/ 5403 w 188725"/>
                  <a:gd name="connsiteY2" fmla="*/ 280374 h 311338"/>
                  <a:gd name="connsiteX3" fmla="*/ 5626 w 188725"/>
                  <a:gd name="connsiteY3" fmla="*/ 252752 h 311338"/>
                  <a:gd name="connsiteX4" fmla="*/ 16987 w 188725"/>
                  <a:gd name="connsiteY4" fmla="*/ 238940 h 311338"/>
                  <a:gd name="connsiteX5" fmla="*/ 40822 w 188725"/>
                  <a:gd name="connsiteY5" fmla="*/ 235822 h 311338"/>
                  <a:gd name="connsiteX6" fmla="*/ 59757 w 188725"/>
                  <a:gd name="connsiteY6" fmla="*/ 248519 h 311338"/>
                  <a:gd name="connsiteX7" fmla="*/ 112329 w 188725"/>
                  <a:gd name="connsiteY7" fmla="*/ 249410 h 311338"/>
                  <a:gd name="connsiteX8" fmla="*/ 117453 w 188725"/>
                  <a:gd name="connsiteY8" fmla="*/ 203298 h 311338"/>
                  <a:gd name="connsiteX9" fmla="*/ 82925 w 188725"/>
                  <a:gd name="connsiteY9" fmla="*/ 182359 h 311338"/>
                  <a:gd name="connsiteX10" fmla="*/ 35031 w 188725"/>
                  <a:gd name="connsiteY10" fmla="*/ 152731 h 311338"/>
                  <a:gd name="connsiteX11" fmla="*/ 8076 w 188725"/>
                  <a:gd name="connsiteY11" fmla="*/ 65408 h 311338"/>
                  <a:gd name="connsiteX12" fmla="*/ 72009 w 188725"/>
                  <a:gd name="connsiteY12" fmla="*/ 3703 h 311338"/>
                  <a:gd name="connsiteX13" fmla="*/ 168243 w 188725"/>
                  <a:gd name="connsiteY13" fmla="*/ 22861 h 311338"/>
                  <a:gd name="connsiteX14" fmla="*/ 181386 w 188725"/>
                  <a:gd name="connsiteY14" fmla="*/ 39568 h 311338"/>
                  <a:gd name="connsiteX15" fmla="*/ 177376 w 188725"/>
                  <a:gd name="connsiteY15" fmla="*/ 57166 h 311338"/>
                  <a:gd name="connsiteX16" fmla="*/ 163119 w 188725"/>
                  <a:gd name="connsiteY16" fmla="*/ 72091 h 311338"/>
                  <a:gd name="connsiteX17" fmla="*/ 138170 w 188725"/>
                  <a:gd name="connsiteY17" fmla="*/ 72537 h 311338"/>
                  <a:gd name="connsiteX18" fmla="*/ 83147 w 188725"/>
                  <a:gd name="connsiteY18" fmla="*/ 59171 h 311338"/>
                  <a:gd name="connsiteX19" fmla="*/ 63544 w 188725"/>
                  <a:gd name="connsiteY19" fmla="*/ 80556 h 311338"/>
                  <a:gd name="connsiteX20" fmla="*/ 73123 w 188725"/>
                  <a:gd name="connsiteY20" fmla="*/ 108402 h 311338"/>
                  <a:gd name="connsiteX21" fmla="*/ 109656 w 188725"/>
                  <a:gd name="connsiteY21" fmla="*/ 129118 h 311338"/>
                  <a:gd name="connsiteX22" fmla="*/ 160669 w 188725"/>
                  <a:gd name="connsiteY22" fmla="*/ 160082 h 311338"/>
                  <a:gd name="connsiteX23" fmla="*/ 141957 w 188725"/>
                  <a:gd name="connsiteY23" fmla="*/ 298641 h 311338"/>
                  <a:gd name="connsiteX24" fmla="*/ 87157 w 188725"/>
                  <a:gd name="connsiteY24" fmla="*/ 311338 h 3113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88725" h="311338">
                    <a:moveTo>
                      <a:pt x="87157" y="311338"/>
                    </a:moveTo>
                    <a:cubicBezTo>
                      <a:pt x="65326" y="310893"/>
                      <a:pt x="45055" y="308220"/>
                      <a:pt x="26788" y="297750"/>
                    </a:cubicBezTo>
                    <a:cubicBezTo>
                      <a:pt x="18769" y="293072"/>
                      <a:pt x="11418" y="287503"/>
                      <a:pt x="5403" y="280374"/>
                    </a:cubicBezTo>
                    <a:cubicBezTo>
                      <a:pt x="-1948" y="271686"/>
                      <a:pt x="-1725" y="261217"/>
                      <a:pt x="5626" y="252752"/>
                    </a:cubicBezTo>
                    <a:cubicBezTo>
                      <a:pt x="9413" y="248296"/>
                      <a:pt x="13200" y="243618"/>
                      <a:pt x="16987" y="238940"/>
                    </a:cubicBezTo>
                    <a:cubicBezTo>
                      <a:pt x="24115" y="230475"/>
                      <a:pt x="31689" y="229362"/>
                      <a:pt x="40822" y="235822"/>
                    </a:cubicBezTo>
                    <a:cubicBezTo>
                      <a:pt x="47060" y="240277"/>
                      <a:pt x="52852" y="245178"/>
                      <a:pt x="59757" y="248519"/>
                    </a:cubicBezTo>
                    <a:cubicBezTo>
                      <a:pt x="77133" y="256984"/>
                      <a:pt x="94954" y="257652"/>
                      <a:pt x="112329" y="249410"/>
                    </a:cubicBezTo>
                    <a:cubicBezTo>
                      <a:pt x="132378" y="240054"/>
                      <a:pt x="134605" y="217555"/>
                      <a:pt x="117453" y="203298"/>
                    </a:cubicBezTo>
                    <a:cubicBezTo>
                      <a:pt x="106983" y="194611"/>
                      <a:pt x="94954" y="188373"/>
                      <a:pt x="82925" y="182359"/>
                    </a:cubicBezTo>
                    <a:cubicBezTo>
                      <a:pt x="65995" y="173894"/>
                      <a:pt x="49287" y="165206"/>
                      <a:pt x="35031" y="152731"/>
                    </a:cubicBezTo>
                    <a:cubicBezTo>
                      <a:pt x="8076" y="129341"/>
                      <a:pt x="-389" y="99491"/>
                      <a:pt x="8076" y="65408"/>
                    </a:cubicBezTo>
                    <a:cubicBezTo>
                      <a:pt x="16319" y="31994"/>
                      <a:pt x="39263" y="11723"/>
                      <a:pt x="72009" y="3703"/>
                    </a:cubicBezTo>
                    <a:cubicBezTo>
                      <a:pt x="106760" y="-4985"/>
                      <a:pt x="139283" y="1698"/>
                      <a:pt x="168243" y="22861"/>
                    </a:cubicBezTo>
                    <a:cubicBezTo>
                      <a:pt x="174034" y="27093"/>
                      <a:pt x="179381" y="31994"/>
                      <a:pt x="181386" y="39568"/>
                    </a:cubicBezTo>
                    <a:cubicBezTo>
                      <a:pt x="183168" y="46251"/>
                      <a:pt x="182054" y="52043"/>
                      <a:pt x="177376" y="57166"/>
                    </a:cubicBezTo>
                    <a:cubicBezTo>
                      <a:pt x="172698" y="62290"/>
                      <a:pt x="168020" y="67191"/>
                      <a:pt x="163119" y="72091"/>
                    </a:cubicBezTo>
                    <a:cubicBezTo>
                      <a:pt x="154209" y="80779"/>
                      <a:pt x="147303" y="80779"/>
                      <a:pt x="138170" y="72537"/>
                    </a:cubicBezTo>
                    <a:cubicBezTo>
                      <a:pt x="122131" y="58280"/>
                      <a:pt x="103864" y="53379"/>
                      <a:pt x="83147" y="59171"/>
                    </a:cubicBezTo>
                    <a:cubicBezTo>
                      <a:pt x="72455" y="62067"/>
                      <a:pt x="65772" y="69641"/>
                      <a:pt x="63544" y="80556"/>
                    </a:cubicBezTo>
                    <a:cubicBezTo>
                      <a:pt x="61317" y="91472"/>
                      <a:pt x="63990" y="101050"/>
                      <a:pt x="73123" y="108402"/>
                    </a:cubicBezTo>
                    <a:cubicBezTo>
                      <a:pt x="84261" y="117312"/>
                      <a:pt x="96736" y="123549"/>
                      <a:pt x="109656" y="129118"/>
                    </a:cubicBezTo>
                    <a:cubicBezTo>
                      <a:pt x="127923" y="137361"/>
                      <a:pt x="145298" y="146939"/>
                      <a:pt x="160669" y="160082"/>
                    </a:cubicBezTo>
                    <a:cubicBezTo>
                      <a:pt x="204776" y="197507"/>
                      <a:pt x="195642" y="271018"/>
                      <a:pt x="141957" y="298641"/>
                    </a:cubicBezTo>
                    <a:cubicBezTo>
                      <a:pt x="124136" y="307551"/>
                      <a:pt x="105646" y="311338"/>
                      <a:pt x="87157" y="311338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4" name="Graphic 13">
                <a:extLst>
                  <a:ext uri="{FF2B5EF4-FFF2-40B4-BE49-F238E27FC236}">
                    <a16:creationId xmlns:a16="http://schemas.microsoft.com/office/drawing/2014/main" id="{84B58869-E746-44B0-93BF-A0A497BD433E}"/>
                  </a:ext>
                </a:extLst>
              </p:cNvPr>
              <p:cNvSpPr/>
              <p:nvPr/>
            </p:nvSpPr>
            <p:spPr>
              <a:xfrm>
                <a:off x="1766651" y="1560036"/>
                <a:ext cx="188703" cy="310781"/>
              </a:xfrm>
              <a:custGeom>
                <a:avLst/>
                <a:gdLst>
                  <a:gd name="connsiteX0" fmla="*/ 99996 w 188703"/>
                  <a:gd name="connsiteY0" fmla="*/ 114 h 310781"/>
                  <a:gd name="connsiteX1" fmla="*/ 169052 w 188703"/>
                  <a:gd name="connsiteY1" fmla="*/ 23281 h 310781"/>
                  <a:gd name="connsiteX2" fmla="*/ 179076 w 188703"/>
                  <a:gd name="connsiteY2" fmla="*/ 33528 h 310781"/>
                  <a:gd name="connsiteX3" fmla="*/ 177294 w 188703"/>
                  <a:gd name="connsiteY3" fmla="*/ 56695 h 310781"/>
                  <a:gd name="connsiteX4" fmla="*/ 161032 w 188703"/>
                  <a:gd name="connsiteY4" fmla="*/ 73180 h 310781"/>
                  <a:gd name="connsiteX5" fmla="*/ 138979 w 188703"/>
                  <a:gd name="connsiteY5" fmla="*/ 72511 h 310781"/>
                  <a:gd name="connsiteX6" fmla="*/ 85516 w 188703"/>
                  <a:gd name="connsiteY6" fmla="*/ 57809 h 310781"/>
                  <a:gd name="connsiteX7" fmla="*/ 63685 w 188703"/>
                  <a:gd name="connsiteY7" fmla="*/ 78972 h 310781"/>
                  <a:gd name="connsiteX8" fmla="*/ 73932 w 188703"/>
                  <a:gd name="connsiteY8" fmla="*/ 108599 h 310781"/>
                  <a:gd name="connsiteX9" fmla="*/ 110020 w 188703"/>
                  <a:gd name="connsiteY9" fmla="*/ 128870 h 310781"/>
                  <a:gd name="connsiteX10" fmla="*/ 156800 w 188703"/>
                  <a:gd name="connsiteY10" fmla="*/ 156270 h 310781"/>
                  <a:gd name="connsiteX11" fmla="*/ 143657 w 188703"/>
                  <a:gd name="connsiteY11" fmla="*/ 297056 h 310781"/>
                  <a:gd name="connsiteX12" fmla="*/ 75492 w 188703"/>
                  <a:gd name="connsiteY12" fmla="*/ 310422 h 310781"/>
                  <a:gd name="connsiteX13" fmla="*/ 16905 w 188703"/>
                  <a:gd name="connsiteY13" fmla="*/ 291041 h 310781"/>
                  <a:gd name="connsiteX14" fmla="*/ 4876 w 188703"/>
                  <a:gd name="connsiteY14" fmla="*/ 279680 h 310781"/>
                  <a:gd name="connsiteX15" fmla="*/ 5322 w 188703"/>
                  <a:gd name="connsiteY15" fmla="*/ 252726 h 310781"/>
                  <a:gd name="connsiteX16" fmla="*/ 15791 w 188703"/>
                  <a:gd name="connsiteY16" fmla="*/ 239806 h 310781"/>
                  <a:gd name="connsiteX17" fmla="*/ 42523 w 188703"/>
                  <a:gd name="connsiteY17" fmla="*/ 236910 h 310781"/>
                  <a:gd name="connsiteX18" fmla="*/ 62126 w 188703"/>
                  <a:gd name="connsiteY18" fmla="*/ 249385 h 310781"/>
                  <a:gd name="connsiteX19" fmla="*/ 111579 w 188703"/>
                  <a:gd name="connsiteY19" fmla="*/ 249162 h 310781"/>
                  <a:gd name="connsiteX20" fmla="*/ 117594 w 188703"/>
                  <a:gd name="connsiteY20" fmla="*/ 203273 h 310781"/>
                  <a:gd name="connsiteX21" fmla="*/ 79279 w 188703"/>
                  <a:gd name="connsiteY21" fmla="*/ 180106 h 310781"/>
                  <a:gd name="connsiteX22" fmla="*/ 27152 w 188703"/>
                  <a:gd name="connsiteY22" fmla="*/ 144909 h 310781"/>
                  <a:gd name="connsiteX23" fmla="*/ 9777 w 188703"/>
                  <a:gd name="connsiteY23" fmla="*/ 58700 h 310781"/>
                  <a:gd name="connsiteX24" fmla="*/ 75714 w 188703"/>
                  <a:gd name="connsiteY24" fmla="*/ 2341 h 310781"/>
                  <a:gd name="connsiteX25" fmla="*/ 99996 w 188703"/>
                  <a:gd name="connsiteY25" fmla="*/ 114 h 3107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88703" h="310781">
                    <a:moveTo>
                      <a:pt x="99996" y="114"/>
                    </a:moveTo>
                    <a:cubicBezTo>
                      <a:pt x="125613" y="-555"/>
                      <a:pt x="148335" y="8133"/>
                      <a:pt x="169052" y="23281"/>
                    </a:cubicBezTo>
                    <a:cubicBezTo>
                      <a:pt x="172839" y="26177"/>
                      <a:pt x="176626" y="29296"/>
                      <a:pt x="179076" y="33528"/>
                    </a:cubicBezTo>
                    <a:cubicBezTo>
                      <a:pt x="183532" y="41547"/>
                      <a:pt x="183309" y="50235"/>
                      <a:pt x="177294" y="56695"/>
                    </a:cubicBezTo>
                    <a:cubicBezTo>
                      <a:pt x="172171" y="62487"/>
                      <a:pt x="166824" y="68279"/>
                      <a:pt x="161032" y="73180"/>
                    </a:cubicBezTo>
                    <a:cubicBezTo>
                      <a:pt x="153013" y="80085"/>
                      <a:pt x="146776" y="79640"/>
                      <a:pt x="138979" y="72511"/>
                    </a:cubicBezTo>
                    <a:cubicBezTo>
                      <a:pt x="123608" y="58477"/>
                      <a:pt x="106010" y="53354"/>
                      <a:pt x="85516" y="57809"/>
                    </a:cubicBezTo>
                    <a:cubicBezTo>
                      <a:pt x="73932" y="60259"/>
                      <a:pt x="66581" y="67388"/>
                      <a:pt x="63685" y="78972"/>
                    </a:cubicBezTo>
                    <a:cubicBezTo>
                      <a:pt x="60567" y="91001"/>
                      <a:pt x="64131" y="101025"/>
                      <a:pt x="73932" y="108599"/>
                    </a:cubicBezTo>
                    <a:cubicBezTo>
                      <a:pt x="84848" y="117287"/>
                      <a:pt x="97322" y="123301"/>
                      <a:pt x="110020" y="128870"/>
                    </a:cubicBezTo>
                    <a:cubicBezTo>
                      <a:pt x="126727" y="136221"/>
                      <a:pt x="142320" y="145132"/>
                      <a:pt x="156800" y="156270"/>
                    </a:cubicBezTo>
                    <a:cubicBezTo>
                      <a:pt x="205585" y="194140"/>
                      <a:pt x="196229" y="268765"/>
                      <a:pt x="143657" y="297056"/>
                    </a:cubicBezTo>
                    <a:cubicBezTo>
                      <a:pt x="122272" y="308640"/>
                      <a:pt x="99550" y="311981"/>
                      <a:pt x="75492" y="310422"/>
                    </a:cubicBezTo>
                    <a:cubicBezTo>
                      <a:pt x="54106" y="309085"/>
                      <a:pt x="34281" y="303962"/>
                      <a:pt x="16905" y="291041"/>
                    </a:cubicBezTo>
                    <a:cubicBezTo>
                      <a:pt x="12450" y="287700"/>
                      <a:pt x="8440" y="283913"/>
                      <a:pt x="4876" y="279680"/>
                    </a:cubicBezTo>
                    <a:cubicBezTo>
                      <a:pt x="-1807" y="271438"/>
                      <a:pt x="-1584" y="260968"/>
                      <a:pt x="5322" y="252726"/>
                    </a:cubicBezTo>
                    <a:cubicBezTo>
                      <a:pt x="8886" y="248494"/>
                      <a:pt x="12450" y="244038"/>
                      <a:pt x="15791" y="239806"/>
                    </a:cubicBezTo>
                    <a:cubicBezTo>
                      <a:pt x="24256" y="229559"/>
                      <a:pt x="32053" y="228668"/>
                      <a:pt x="42523" y="236910"/>
                    </a:cubicBezTo>
                    <a:cubicBezTo>
                      <a:pt x="48760" y="241588"/>
                      <a:pt x="54998" y="246266"/>
                      <a:pt x="62126" y="249385"/>
                    </a:cubicBezTo>
                    <a:cubicBezTo>
                      <a:pt x="78610" y="256513"/>
                      <a:pt x="95318" y="256736"/>
                      <a:pt x="111579" y="249162"/>
                    </a:cubicBezTo>
                    <a:cubicBezTo>
                      <a:pt x="131851" y="239806"/>
                      <a:pt x="134524" y="217752"/>
                      <a:pt x="117594" y="203273"/>
                    </a:cubicBezTo>
                    <a:cubicBezTo>
                      <a:pt x="106010" y="193471"/>
                      <a:pt x="92644" y="186788"/>
                      <a:pt x="79279" y="180106"/>
                    </a:cubicBezTo>
                    <a:cubicBezTo>
                      <a:pt x="60344" y="170527"/>
                      <a:pt x="41855" y="160503"/>
                      <a:pt x="27152" y="144909"/>
                    </a:cubicBezTo>
                    <a:cubicBezTo>
                      <a:pt x="3985" y="119737"/>
                      <a:pt x="-693" y="90110"/>
                      <a:pt x="9777" y="58700"/>
                    </a:cubicBezTo>
                    <a:cubicBezTo>
                      <a:pt x="20247" y="27068"/>
                      <a:pt x="43859" y="9470"/>
                      <a:pt x="75714" y="2341"/>
                    </a:cubicBezTo>
                    <a:cubicBezTo>
                      <a:pt x="83511" y="559"/>
                      <a:pt x="91753" y="-332"/>
                      <a:pt x="99996" y="114"/>
                    </a:cubicBezTo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5" name="Graphic 13">
                <a:extLst>
                  <a:ext uri="{FF2B5EF4-FFF2-40B4-BE49-F238E27FC236}">
                    <a16:creationId xmlns:a16="http://schemas.microsoft.com/office/drawing/2014/main" id="{20B2FB40-71E4-40E6-9F32-132265AE1FD8}"/>
                  </a:ext>
                </a:extLst>
              </p:cNvPr>
              <p:cNvSpPr/>
              <p:nvPr/>
            </p:nvSpPr>
            <p:spPr>
              <a:xfrm>
                <a:off x="1807515" y="1137089"/>
                <a:ext cx="149294" cy="297867"/>
              </a:xfrm>
              <a:custGeom>
                <a:avLst/>
                <a:gdLst>
                  <a:gd name="connsiteX0" fmla="*/ 322 w 149294"/>
                  <a:gd name="connsiteY0" fmla="*/ 189828 h 297867"/>
                  <a:gd name="connsiteX1" fmla="*/ 545 w 149294"/>
                  <a:gd name="connsiteY1" fmla="*/ 102505 h 297867"/>
                  <a:gd name="connsiteX2" fmla="*/ 33959 w 149294"/>
                  <a:gd name="connsiteY2" fmla="*/ 24761 h 297867"/>
                  <a:gd name="connsiteX3" fmla="*/ 100119 w 149294"/>
                  <a:gd name="connsiteY3" fmla="*/ 257 h 297867"/>
                  <a:gd name="connsiteX4" fmla="*/ 129524 w 149294"/>
                  <a:gd name="connsiteY4" fmla="*/ 257 h 297867"/>
                  <a:gd name="connsiteX5" fmla="*/ 149127 w 149294"/>
                  <a:gd name="connsiteY5" fmla="*/ 19415 h 297867"/>
                  <a:gd name="connsiteX6" fmla="*/ 149127 w 149294"/>
                  <a:gd name="connsiteY6" fmla="*/ 37236 h 297867"/>
                  <a:gd name="connsiteX7" fmla="*/ 129524 w 149294"/>
                  <a:gd name="connsiteY7" fmla="*/ 56616 h 297867"/>
                  <a:gd name="connsiteX8" fmla="*/ 109030 w 149294"/>
                  <a:gd name="connsiteY8" fmla="*/ 56616 h 297867"/>
                  <a:gd name="connsiteX9" fmla="*/ 61136 w 149294"/>
                  <a:gd name="connsiteY9" fmla="*/ 97382 h 297867"/>
                  <a:gd name="connsiteX10" fmla="*/ 59799 w 149294"/>
                  <a:gd name="connsiteY10" fmla="*/ 117208 h 297867"/>
                  <a:gd name="connsiteX11" fmla="*/ 59799 w 149294"/>
                  <a:gd name="connsiteY11" fmla="*/ 276260 h 297867"/>
                  <a:gd name="connsiteX12" fmla="*/ 38191 w 149294"/>
                  <a:gd name="connsiteY12" fmla="*/ 297868 h 297867"/>
                  <a:gd name="connsiteX13" fmla="*/ 20370 w 149294"/>
                  <a:gd name="connsiteY13" fmla="*/ 297868 h 297867"/>
                  <a:gd name="connsiteX14" fmla="*/ 99 w 149294"/>
                  <a:gd name="connsiteY14" fmla="*/ 278042 h 297867"/>
                  <a:gd name="connsiteX15" fmla="*/ 99 w 149294"/>
                  <a:gd name="connsiteY15" fmla="*/ 246855 h 297867"/>
                  <a:gd name="connsiteX16" fmla="*/ 99 w 149294"/>
                  <a:gd name="connsiteY16" fmla="*/ 189605 h 297867"/>
                  <a:gd name="connsiteX17" fmla="*/ 322 w 149294"/>
                  <a:gd name="connsiteY17" fmla="*/ 189605 h 297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49294" h="297867">
                    <a:moveTo>
                      <a:pt x="322" y="189828"/>
                    </a:moveTo>
                    <a:cubicBezTo>
                      <a:pt x="322" y="160646"/>
                      <a:pt x="-347" y="131687"/>
                      <a:pt x="545" y="102505"/>
                    </a:cubicBezTo>
                    <a:cubicBezTo>
                      <a:pt x="1213" y="72432"/>
                      <a:pt x="11237" y="45478"/>
                      <a:pt x="33959" y="24761"/>
                    </a:cubicBezTo>
                    <a:cubicBezTo>
                      <a:pt x="52671" y="7608"/>
                      <a:pt x="75393" y="1148"/>
                      <a:pt x="100119" y="257"/>
                    </a:cubicBezTo>
                    <a:cubicBezTo>
                      <a:pt x="109921" y="-188"/>
                      <a:pt x="119723" y="34"/>
                      <a:pt x="129524" y="257"/>
                    </a:cubicBezTo>
                    <a:cubicBezTo>
                      <a:pt x="141776" y="257"/>
                      <a:pt x="148904" y="7163"/>
                      <a:pt x="149127" y="19415"/>
                    </a:cubicBezTo>
                    <a:cubicBezTo>
                      <a:pt x="149350" y="25429"/>
                      <a:pt x="149350" y="31221"/>
                      <a:pt x="149127" y="37236"/>
                    </a:cubicBezTo>
                    <a:cubicBezTo>
                      <a:pt x="148682" y="49488"/>
                      <a:pt x="141999" y="56393"/>
                      <a:pt x="129524" y="56616"/>
                    </a:cubicBezTo>
                    <a:cubicBezTo>
                      <a:pt x="122618" y="56839"/>
                      <a:pt x="115713" y="56616"/>
                      <a:pt x="109030" y="56616"/>
                    </a:cubicBezTo>
                    <a:cubicBezTo>
                      <a:pt x="82521" y="56616"/>
                      <a:pt x="65591" y="71096"/>
                      <a:pt x="61136" y="97382"/>
                    </a:cubicBezTo>
                    <a:cubicBezTo>
                      <a:pt x="60022" y="104065"/>
                      <a:pt x="59799" y="110747"/>
                      <a:pt x="59799" y="117208"/>
                    </a:cubicBezTo>
                    <a:cubicBezTo>
                      <a:pt x="59799" y="170225"/>
                      <a:pt x="59799" y="223242"/>
                      <a:pt x="59799" y="276260"/>
                    </a:cubicBezTo>
                    <a:cubicBezTo>
                      <a:pt x="59799" y="291408"/>
                      <a:pt x="53116" y="297868"/>
                      <a:pt x="38191" y="297868"/>
                    </a:cubicBezTo>
                    <a:cubicBezTo>
                      <a:pt x="32177" y="297868"/>
                      <a:pt x="26385" y="297868"/>
                      <a:pt x="20370" y="297868"/>
                    </a:cubicBezTo>
                    <a:cubicBezTo>
                      <a:pt x="7673" y="297868"/>
                      <a:pt x="322" y="290962"/>
                      <a:pt x="99" y="278042"/>
                    </a:cubicBezTo>
                    <a:cubicBezTo>
                      <a:pt x="-124" y="267572"/>
                      <a:pt x="99" y="257325"/>
                      <a:pt x="99" y="246855"/>
                    </a:cubicBezTo>
                    <a:lnTo>
                      <a:pt x="99" y="189605"/>
                    </a:lnTo>
                    <a:lnTo>
                      <a:pt x="322" y="189605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  <p:sp>
            <p:nvSpPr>
              <p:cNvPr id="26" name="Graphic 13">
                <a:extLst>
                  <a:ext uri="{FF2B5EF4-FFF2-40B4-BE49-F238E27FC236}">
                    <a16:creationId xmlns:a16="http://schemas.microsoft.com/office/drawing/2014/main" id="{D680FCC1-8AE0-4FA3-AA3B-A7B3AC83526A}"/>
                  </a:ext>
                </a:extLst>
              </p:cNvPr>
              <p:cNvSpPr/>
              <p:nvPr/>
            </p:nvSpPr>
            <p:spPr>
              <a:xfrm>
                <a:off x="1646334" y="1566610"/>
                <a:ext cx="59923" cy="298155"/>
              </a:xfrm>
              <a:custGeom>
                <a:avLst/>
                <a:gdLst>
                  <a:gd name="connsiteX0" fmla="*/ 59923 w 59923"/>
                  <a:gd name="connsiteY0" fmla="*/ 149251 h 298155"/>
                  <a:gd name="connsiteX1" fmla="*/ 59923 w 59923"/>
                  <a:gd name="connsiteY1" fmla="*/ 274889 h 298155"/>
                  <a:gd name="connsiteX2" fmla="*/ 36533 w 59923"/>
                  <a:gd name="connsiteY2" fmla="*/ 298056 h 298155"/>
                  <a:gd name="connsiteX3" fmla="*/ 19826 w 59923"/>
                  <a:gd name="connsiteY3" fmla="*/ 298056 h 298155"/>
                  <a:gd name="connsiteX4" fmla="*/ 0 w 59923"/>
                  <a:gd name="connsiteY4" fmla="*/ 277785 h 298155"/>
                  <a:gd name="connsiteX5" fmla="*/ 0 w 59923"/>
                  <a:gd name="connsiteY5" fmla="*/ 244370 h 298155"/>
                  <a:gd name="connsiteX6" fmla="*/ 0 w 59923"/>
                  <a:gd name="connsiteY6" fmla="*/ 22053 h 298155"/>
                  <a:gd name="connsiteX7" fmla="*/ 21831 w 59923"/>
                  <a:gd name="connsiteY7" fmla="*/ 0 h 298155"/>
                  <a:gd name="connsiteX8" fmla="*/ 38983 w 59923"/>
                  <a:gd name="connsiteY8" fmla="*/ 0 h 298155"/>
                  <a:gd name="connsiteX9" fmla="*/ 59700 w 59923"/>
                  <a:gd name="connsiteY9" fmla="*/ 20940 h 298155"/>
                  <a:gd name="connsiteX10" fmla="*/ 59700 w 59923"/>
                  <a:gd name="connsiteY10" fmla="*/ 71952 h 298155"/>
                  <a:gd name="connsiteX11" fmla="*/ 59700 w 59923"/>
                  <a:gd name="connsiteY11" fmla="*/ 149251 h 2981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9923" h="298155">
                    <a:moveTo>
                      <a:pt x="59923" y="149251"/>
                    </a:moveTo>
                    <a:cubicBezTo>
                      <a:pt x="59923" y="191130"/>
                      <a:pt x="59923" y="233009"/>
                      <a:pt x="59923" y="274889"/>
                    </a:cubicBezTo>
                    <a:cubicBezTo>
                      <a:pt x="59923" y="291596"/>
                      <a:pt x="53463" y="298056"/>
                      <a:pt x="36533" y="298056"/>
                    </a:cubicBezTo>
                    <a:cubicBezTo>
                      <a:pt x="30964" y="298056"/>
                      <a:pt x="25395" y="298279"/>
                      <a:pt x="19826" y="298056"/>
                    </a:cubicBezTo>
                    <a:cubicBezTo>
                      <a:pt x="7128" y="297833"/>
                      <a:pt x="0" y="290705"/>
                      <a:pt x="0" y="277785"/>
                    </a:cubicBezTo>
                    <a:cubicBezTo>
                      <a:pt x="0" y="266647"/>
                      <a:pt x="0" y="255509"/>
                      <a:pt x="0" y="244370"/>
                    </a:cubicBezTo>
                    <a:cubicBezTo>
                      <a:pt x="0" y="170190"/>
                      <a:pt x="0" y="96233"/>
                      <a:pt x="0" y="22053"/>
                    </a:cubicBezTo>
                    <a:cubicBezTo>
                      <a:pt x="0" y="6460"/>
                      <a:pt x="6460" y="0"/>
                      <a:pt x="21831" y="0"/>
                    </a:cubicBezTo>
                    <a:cubicBezTo>
                      <a:pt x="27623" y="0"/>
                      <a:pt x="33414" y="0"/>
                      <a:pt x="38983" y="0"/>
                    </a:cubicBezTo>
                    <a:cubicBezTo>
                      <a:pt x="52795" y="223"/>
                      <a:pt x="59700" y="7128"/>
                      <a:pt x="59700" y="20940"/>
                    </a:cubicBezTo>
                    <a:cubicBezTo>
                      <a:pt x="59700" y="37870"/>
                      <a:pt x="59700" y="55022"/>
                      <a:pt x="59700" y="71952"/>
                    </a:cubicBezTo>
                    <a:lnTo>
                      <a:pt x="59700" y="149251"/>
                    </a:lnTo>
                    <a:close/>
                  </a:path>
                </a:pathLst>
              </a:custGeom>
              <a:grpFill/>
              <a:ln w="22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sz="9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0503579"/>
      </p:ext>
    </p:extLst>
  </p:cSld>
  <p:clrMapOvr>
    <a:masterClrMapping/>
  </p:clrMapOvr>
  <p:transition spd="med"/>
  <p:hf sldNum="0"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met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afbeelding 13">
            <a:extLst>
              <a:ext uri="{FF2B5EF4-FFF2-40B4-BE49-F238E27FC236}">
                <a16:creationId xmlns:a16="http://schemas.microsoft.com/office/drawing/2014/main" id="{8A3A62D3-4B6E-4E04-A361-4119F85A177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4838" y="495443"/>
            <a:ext cx="11587162" cy="6362557"/>
          </a:xfrm>
          <a:custGeom>
            <a:avLst/>
            <a:gdLst>
              <a:gd name="connsiteX0" fmla="*/ 6362508 w 23174324"/>
              <a:gd name="connsiteY0" fmla="*/ 0 h 12725114"/>
              <a:gd name="connsiteX1" fmla="*/ 23174324 w 23174324"/>
              <a:gd name="connsiteY1" fmla="*/ 0 h 12725114"/>
              <a:gd name="connsiteX2" fmla="*/ 23174324 w 23174324"/>
              <a:gd name="connsiteY2" fmla="*/ 12725114 h 12725114"/>
              <a:gd name="connsiteX3" fmla="*/ 0 w 23174324"/>
              <a:gd name="connsiteY3" fmla="*/ 12725114 h 12725114"/>
              <a:gd name="connsiteX4" fmla="*/ 0 w 23174324"/>
              <a:gd name="connsiteY4" fmla="*/ 6362557 h 12725114"/>
              <a:gd name="connsiteX5" fmla="*/ 6362508 w 23174324"/>
              <a:gd name="connsiteY5" fmla="*/ 0 h 12725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174324" h="12725114">
                <a:moveTo>
                  <a:pt x="6362508" y="0"/>
                </a:moveTo>
                <a:lnTo>
                  <a:pt x="23174324" y="0"/>
                </a:lnTo>
                <a:lnTo>
                  <a:pt x="23174324" y="12725114"/>
                </a:lnTo>
                <a:lnTo>
                  <a:pt x="0" y="12725114"/>
                </a:lnTo>
                <a:lnTo>
                  <a:pt x="0" y="6362557"/>
                </a:lnTo>
                <a:cubicBezTo>
                  <a:pt x="0" y="2848613"/>
                  <a:pt x="2848642" y="0"/>
                  <a:pt x="6362508" y="0"/>
                </a:cubicBezTo>
                <a:close/>
              </a:path>
            </a:pathLst>
          </a:custGeom>
          <a:solidFill>
            <a:schemeClr val="accent6">
              <a:lumMod val="75000"/>
              <a:lumOff val="25000"/>
            </a:scheme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tIns="972000" bIns="0" anchor="ctr" anchorCtr="0">
            <a:noAutofit/>
          </a:bodyPr>
          <a:lstStyle>
            <a:lvl1pPr algn="ctr">
              <a:defRPr sz="15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nl-NL"/>
              <a:t> Voeg afbeelding in via icoon</a:t>
            </a:r>
          </a:p>
        </p:txBody>
      </p:sp>
      <p:sp>
        <p:nvSpPr>
          <p:cNvPr id="25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11588750" y="6852424"/>
            <a:ext cx="405638" cy="27186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Naam presentatie">
            <a:extLst>
              <a:ext uri="{FF2B5EF4-FFF2-40B4-BE49-F238E27FC236}">
                <a16:creationId xmlns:a16="http://schemas.microsoft.com/office/drawing/2014/main" id="{1B8C3A00-D372-4BAB-9D2B-F42634B22C2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1701800" y="2786743"/>
            <a:ext cx="9401628" cy="64225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 spc="-116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l-NL"/>
              <a:t>Titel</a:t>
            </a:r>
            <a:endParaRPr/>
          </a:p>
        </p:txBody>
      </p:sp>
      <p:sp>
        <p:nvSpPr>
          <p:cNvPr id="9" name="Tijdelijke aanduiding voor datum 3">
            <a:extLst>
              <a:ext uri="{FF2B5EF4-FFF2-40B4-BE49-F238E27FC236}">
                <a16:creationId xmlns:a16="http://schemas.microsoft.com/office/drawing/2014/main" id="{C1943052-78F7-4FF0-8E4A-B4D457C8C267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856329" y="6903720"/>
            <a:ext cx="1228335" cy="220573"/>
          </a:xfr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/>
          </a:p>
        </p:txBody>
      </p:sp>
      <p:sp>
        <p:nvSpPr>
          <p:cNvPr id="10" name="Tijdelijke aanduiding voor voettekst 4">
            <a:extLst>
              <a:ext uri="{FF2B5EF4-FFF2-40B4-BE49-F238E27FC236}">
                <a16:creationId xmlns:a16="http://schemas.microsoft.com/office/drawing/2014/main" id="{38794968-E6ED-48F0-87E0-EC8FBF6B7AA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/>
              <a:t>Hoofdstuktitel (Pas aan in voettekst &gt; invoegen &gt; Koptekst en voettekst</a:t>
            </a:r>
          </a:p>
        </p:txBody>
      </p:sp>
    </p:spTree>
    <p:extLst>
      <p:ext uri="{BB962C8B-B14F-4D97-AF65-F5344CB8AC3E}">
        <p14:creationId xmlns:p14="http://schemas.microsoft.com/office/powerpoint/2010/main" val="2278622350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pn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am dia"/>
          <p:cNvSpPr txBox="1">
            <a:spLocks noGrp="1"/>
          </p:cNvSpPr>
          <p:nvPr>
            <p:ph type="title" hasCustomPrompt="1"/>
          </p:nvPr>
        </p:nvSpPr>
        <p:spPr>
          <a:xfrm>
            <a:off x="856329" y="1258024"/>
            <a:ext cx="10732421" cy="76213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0" anchor="b">
            <a:normAutofit/>
          </a:bodyPr>
          <a:lstStyle/>
          <a:p>
            <a:r>
              <a:rPr lang="nl-NL"/>
              <a:t>Titel: Een leefwereld</a:t>
            </a:r>
            <a:endParaRPr/>
          </a:p>
        </p:txBody>
      </p:sp>
      <p:sp>
        <p:nvSpPr>
          <p:cNvPr id="3" name="Hoofdtekst - niveau één…"/>
          <p:cNvSpPr txBox="1">
            <a:spLocks noGrp="1"/>
          </p:cNvSpPr>
          <p:nvPr>
            <p:ph type="body" idx="1" hasCustomPrompt="1"/>
          </p:nvPr>
        </p:nvSpPr>
        <p:spPr>
          <a:xfrm>
            <a:off x="856329" y="2373085"/>
            <a:ext cx="10732421" cy="38791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50800" tIns="50800" rIns="50800" bIns="50800">
            <a:normAutofit/>
          </a:bodyPr>
          <a:lstStyle/>
          <a:p>
            <a:pPr>
              <a:lnSpc>
                <a:spcPct val="120000"/>
              </a:lnSpc>
              <a:defRPr sz="2500">
                <a:latin typeface="Source Sans Pro Bold"/>
                <a:ea typeface="Source Sans Pro Bold"/>
                <a:cs typeface="Source Sans Pro Bold"/>
                <a:sym typeface="Source Sans Pro Bold"/>
              </a:defRPr>
            </a:pPr>
            <a:r>
              <a:rPr lang="nl-NL">
                <a:latin typeface="Source Sans Pro Regular"/>
                <a:ea typeface="Source Sans Pro Regular"/>
                <a:cs typeface="Source Sans Pro Regular"/>
                <a:sym typeface="Source Sans Pro Regular"/>
              </a:rPr>
              <a:t>Content</a:t>
            </a:r>
          </a:p>
        </p:txBody>
      </p:sp>
      <p:sp>
        <p:nvSpPr>
          <p:cNvPr id="4" name="Dianummer"/>
          <p:cNvSpPr txBox="1">
            <a:spLocks noGrp="1"/>
          </p:cNvSpPr>
          <p:nvPr>
            <p:ph type="sldNum" sz="quarter" idx="2"/>
          </p:nvPr>
        </p:nvSpPr>
        <p:spPr>
          <a:xfrm>
            <a:off x="11588750" y="6364968"/>
            <a:ext cx="405638" cy="271869"/>
          </a:xfrm>
          <a:prstGeom prst="rect">
            <a:avLst/>
          </a:prstGeom>
          <a:ln w="12700">
            <a:miter lim="400000"/>
          </a:ln>
        </p:spPr>
        <p:txBody>
          <a:bodyPr wrap="square" lIns="50800" tIns="50800" rIns="50800" bIns="50800" anchor="b">
            <a:spAutoFit/>
          </a:bodyPr>
          <a:lstStyle>
            <a:lvl1pPr algn="r" defTabSz="292100">
              <a:lnSpc>
                <a:spcPct val="100000"/>
              </a:lnSpc>
              <a:spcBef>
                <a:spcPts val="0"/>
              </a:spcBef>
              <a:defRPr sz="1100">
                <a:solidFill>
                  <a:schemeClr val="tx1"/>
                </a:solidFill>
                <a:latin typeface="+mn-lt"/>
                <a:ea typeface="Source Sans Pro" panose="020B0503030403020204" pitchFamily="34" charset="0"/>
              </a:defRPr>
            </a:lvl1pPr>
          </a:lstStyle>
          <a:p>
            <a:fld id="{86CB4B4D-7CA3-9044-876B-883B54F8677D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1765AD6-52EB-493E-9EA9-04B85164B7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6329" y="6903720"/>
            <a:ext cx="1228335" cy="2205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fld id="{848C9476-A8F6-43D9-84F7-3E32148F6953}" type="datetimeFigureOut">
              <a:rPr lang="nl-NL" smtClean="0"/>
              <a:pPr/>
              <a:t>8-6-2023</a:t>
            </a:fld>
            <a:endParaRPr lang="nl-NL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065CC45-6644-4CF9-99B3-3EEEDF8822AB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214762" y="194903"/>
            <a:ext cx="642475" cy="292274"/>
          </a:xfrm>
          <a:prstGeom prst="rect">
            <a:avLst/>
          </a:prstGeom>
        </p:spPr>
      </p:pic>
      <p:sp>
        <p:nvSpPr>
          <p:cNvPr id="12" name="Tijdelijke aanduiding voor voettekst 4">
            <a:extLst>
              <a:ext uri="{FF2B5EF4-FFF2-40B4-BE49-F238E27FC236}">
                <a16:creationId xmlns:a16="http://schemas.microsoft.com/office/drawing/2014/main" id="{CCACDCA8-AD4E-4856-B695-4D8C3B59A2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12848" y="6903720"/>
            <a:ext cx="9249156" cy="220573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r>
              <a:rPr lang="nl-NL"/>
              <a:t>Voettekst</a:t>
            </a:r>
          </a:p>
        </p:txBody>
      </p:sp>
    </p:spTree>
    <p:extLst>
      <p:ext uri="{BB962C8B-B14F-4D97-AF65-F5344CB8AC3E}">
        <p14:creationId xmlns:p14="http://schemas.microsoft.com/office/powerpoint/2010/main" val="1763326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5" r:id="rId44"/>
  </p:sldLayoutIdLst>
  <p:transition spd="med"/>
  <p:txStyles>
    <p:titleStyle>
      <a:lvl1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700" b="1" i="0" u="none" strike="noStrike" cap="none" spc="-85" baseline="0">
          <a:solidFill>
            <a:srgbClr val="000000"/>
          </a:solidFill>
          <a:uFillTx/>
          <a:latin typeface="+mj-lt"/>
          <a:ea typeface="Source Sans Pro" panose="020B0503030403020204" pitchFamily="34" charset="0"/>
          <a:cs typeface="+mn-cs"/>
          <a:sym typeface="Helvetica Neue"/>
        </a:defRPr>
      </a:lvl1pPr>
      <a:lvl2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0" algn="l" defTabSz="1219169" rtl="0" eaLnBrk="1" latinLnBrk="0" hangingPunct="1">
        <a:lnSpc>
          <a:spcPct val="8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50" b="1" i="0" u="none" strike="noStrike" cap="none" spc="-85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titleStyle>
    <p:bodyStyle>
      <a:lvl1pPr marL="0" marR="0" indent="0" algn="l" defTabSz="1219169" rtl="0" eaLnBrk="1" latinLnBrk="0" hangingPunct="1">
        <a:lnSpc>
          <a:spcPct val="150000"/>
        </a:lnSpc>
        <a:spcBef>
          <a:spcPts val="0"/>
        </a:spcBef>
        <a:spcAft>
          <a:spcPts val="0"/>
        </a:spcAft>
        <a:buClrTx/>
        <a:buSzPct val="123000"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Source Sans Pro" panose="020B0503030403020204" pitchFamily="34" charset="0"/>
          <a:cs typeface="+mn-cs"/>
          <a:sym typeface="Helvetica Neue"/>
        </a:defRPr>
      </a:lvl1pPr>
      <a:lvl2pPr marL="304800" marR="0" indent="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Source Sans Pro" panose="020B0503030403020204" pitchFamily="34" charset="0"/>
          <a:cs typeface="+mn-cs"/>
          <a:sym typeface="Helvetica Neue"/>
        </a:defRPr>
      </a:lvl2pPr>
      <a:lvl3pPr marL="609600" marR="0" indent="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Source Sans Pro" panose="020B0503030403020204" pitchFamily="34" charset="0"/>
          <a:cs typeface="+mn-cs"/>
          <a:sym typeface="Helvetica Neue"/>
        </a:defRPr>
      </a:lvl3pPr>
      <a:lvl4pPr marL="914400" marR="0" indent="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Source Sans Pro" panose="020B0503030403020204" pitchFamily="34" charset="0"/>
          <a:cs typeface="+mn-cs"/>
          <a:sym typeface="Helvetica Neue"/>
        </a:defRPr>
      </a:lvl4pPr>
      <a:lvl5pPr marL="1219200" marR="0" indent="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None/>
        <a:tabLst/>
        <a:defRPr sz="1200" b="0" i="0" u="none" strike="noStrike" cap="none" spc="0" baseline="0">
          <a:solidFill>
            <a:srgbClr val="000000"/>
          </a:solidFill>
          <a:uFillTx/>
          <a:latin typeface="+mn-lt"/>
          <a:ea typeface="Source Sans Pro" panose="020B0503030403020204" pitchFamily="34" charset="0"/>
          <a:cs typeface="+mn-cs"/>
          <a:sym typeface="Helvetica Neue"/>
        </a:defRPr>
      </a:lvl5pPr>
      <a:lvl6pPr marL="18288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6pPr>
      <a:lvl7pPr marL="21336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7pPr>
      <a:lvl8pPr marL="24384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8pPr>
      <a:lvl9pPr marL="2743200" marR="0" indent="-304800" algn="l" defTabSz="1219169" rtl="0" eaLnBrk="1" latinLnBrk="0" hangingPunct="1">
        <a:lnSpc>
          <a:spcPct val="90000"/>
        </a:lnSpc>
        <a:spcBef>
          <a:spcPts val="2250"/>
        </a:spcBef>
        <a:spcAft>
          <a:spcPts val="0"/>
        </a:spcAft>
        <a:buClrTx/>
        <a:buSzPct val="123000"/>
        <a:buFontTx/>
        <a:buChar char="•"/>
        <a:tabLst/>
        <a:defRPr sz="2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Helvetica Neue"/>
        </a:defRPr>
      </a:lvl9pPr>
    </p:bodyStyle>
    <p:otherStyle>
      <a:lvl1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1pPr>
      <a:lvl2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2pPr>
      <a:lvl3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3pPr>
      <a:lvl4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4pPr>
      <a:lvl5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5pPr>
      <a:lvl6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6pPr>
      <a:lvl7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7pPr>
      <a:lvl8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8pPr>
      <a:lvl9pPr marL="0" marR="0" indent="0" algn="ctr" defTabSz="2921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886">
          <p15:clr>
            <a:srgbClr val="F26B43"/>
          </p15:clr>
        </p15:guide>
        <p15:guide id="2" orient="horz" pos="2982">
          <p15:clr>
            <a:srgbClr val="F26B43"/>
          </p15:clr>
        </p15:guide>
        <p15:guide id="3" pos="1070">
          <p15:clr>
            <a:srgbClr val="F26B43"/>
          </p15:clr>
        </p15:guide>
        <p15:guide id="4" pos="14597">
          <p15:clr>
            <a:srgbClr val="F26B43"/>
          </p15:clr>
        </p15:guide>
        <p15:guide id="5" orient="horz" pos="2421">
          <p15:clr>
            <a:srgbClr val="F26B43"/>
          </p15:clr>
        </p15:guide>
        <p15:guide id="6" orient="horz" pos="13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CD75A80-7CFF-4111-A3B2-C3AC3B79254A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1220904" y="2481386"/>
            <a:ext cx="5234940" cy="2029968"/>
          </a:xfrm>
        </p:spPr>
        <p:txBody>
          <a:bodyPr>
            <a:noAutofit/>
          </a:bodyPr>
          <a:lstStyle/>
          <a:p>
            <a:endParaRPr lang="nl-NL" sz="4800" b="1" dirty="0"/>
          </a:p>
          <a:p>
            <a:r>
              <a:rPr lang="nl-NL" sz="4000" b="1" dirty="0"/>
              <a:t>Vernieuwersnetwerk </a:t>
            </a:r>
            <a:r>
              <a:rPr lang="nl-NL" sz="4000" b="1" dirty="0" err="1"/>
              <a:t>biobased</a:t>
            </a:r>
            <a:r>
              <a:rPr lang="nl-NL" sz="4000" b="1" dirty="0"/>
              <a:t> bouwen Zuid-Holland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534EDE4-A26E-4594-B4A9-D436C4E4EFF0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1220904" y="5683940"/>
            <a:ext cx="5253229" cy="365125"/>
          </a:xfrm>
        </p:spPr>
        <p:txBody>
          <a:bodyPr>
            <a:noAutofit/>
          </a:bodyPr>
          <a:lstStyle/>
          <a:p>
            <a:pPr defTabSz="914412" hangingPunct="0">
              <a:lnSpc>
                <a:spcPct val="90000"/>
              </a:lnSpc>
              <a:spcBef>
                <a:spcPts val="2250"/>
              </a:spcBef>
            </a:pPr>
            <a:r>
              <a:rPr lang="nl-NL" kern="0" dirty="0">
                <a:solidFill>
                  <a:srgbClr val="000000"/>
                </a:solidFill>
                <a:latin typeface="Source Sans Pro"/>
                <a:sym typeface="Helvetica Neue"/>
              </a:rPr>
              <a:t>13 juni 2023</a:t>
            </a:r>
          </a:p>
        </p:txBody>
      </p:sp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65ECD142-4AB2-4504-8E24-5380FE6390D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>
            <a:noAutofit/>
          </a:bodyPr>
          <a:lstStyle/>
          <a:p>
            <a:pPr hangingPunct="0"/>
            <a:fld id="{86CB4B4D-7CA3-9044-876B-883B54F8677D}" type="slidenum">
              <a:rPr lang="nl-NL" kern="0">
                <a:solidFill>
                  <a:srgbClr val="000000"/>
                </a:solidFill>
                <a:latin typeface="Source Sans Pro"/>
                <a:sym typeface="Helvetica Neue"/>
              </a:rPr>
              <a:pPr hangingPunct="0"/>
              <a:t>1</a:t>
            </a:fld>
            <a:endParaRPr lang="nl-NL" kern="0">
              <a:solidFill>
                <a:srgbClr val="000000"/>
              </a:solidFill>
              <a:latin typeface="Source Sans Pro"/>
              <a:sym typeface="Helvetica Neue"/>
            </a:endParaRPr>
          </a:p>
        </p:txBody>
      </p:sp>
      <p:pic>
        <p:nvPicPr>
          <p:cNvPr id="7" name="Tijdelijke aanduiding voor afbeelding 6" descr="Houten puzzel">
            <a:extLst>
              <a:ext uri="{FF2B5EF4-FFF2-40B4-BE49-F238E27FC236}">
                <a16:creationId xmlns:a16="http://schemas.microsoft.com/office/drawing/2014/main" id="{7293A055-0C80-45D1-B40E-EBEA78F020D9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3" r="16633"/>
          <a:stretch>
            <a:fillRect/>
          </a:stretch>
        </p:blipFill>
        <p:spPr/>
      </p:pic>
      <p:pic>
        <p:nvPicPr>
          <p:cNvPr id="13" name="Afbeelding 12" descr="Afbeelding met tekst&#10;&#10;Automatisch gegenereerde beschrijving">
            <a:extLst>
              <a:ext uri="{FF2B5EF4-FFF2-40B4-BE49-F238E27FC236}">
                <a16:creationId xmlns:a16="http://schemas.microsoft.com/office/drawing/2014/main" id="{57FF135B-12F0-4786-89F5-C806C8FDD77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70" t="13391" r="7636" b="29145"/>
          <a:stretch/>
        </p:blipFill>
        <p:spPr>
          <a:xfrm>
            <a:off x="9470502" y="6185127"/>
            <a:ext cx="2242827" cy="543806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1A3DDEB0-BB0D-4859-6132-28E6CBAFAC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5567" y="222427"/>
            <a:ext cx="2921342" cy="969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696644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D899C6-7712-79EF-F98C-FA83FA23D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565056"/>
            <a:ext cx="5239672" cy="762136"/>
          </a:xfrm>
        </p:spPr>
        <p:txBody>
          <a:bodyPr/>
          <a:lstStyle/>
          <a:p>
            <a:r>
              <a:rPr lang="nl-NL" dirty="0"/>
              <a:t>Wat is het Vernieuwersnetwerk?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C98D9A6-A69B-7873-D567-AC34B0DE80A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56329" y="1882761"/>
            <a:ext cx="5239671" cy="3882962"/>
          </a:xfrm>
        </p:spPr>
        <p:txBody>
          <a:bodyPr lIns="50800" tIns="50800" rIns="50800" bIns="50800" anchor="t">
            <a:norm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800" dirty="0">
                <a:solidFill>
                  <a:schemeClr val="tx1"/>
                </a:solidFill>
                <a:latin typeface="Source Sans Pro"/>
                <a:ea typeface="Helvetica Neue Medium"/>
                <a:cs typeface="Helvetica Neue Medium"/>
                <a:sym typeface="Helvetica Neue Medium"/>
              </a:rPr>
              <a:t>Diverse partijen </a:t>
            </a:r>
            <a:r>
              <a:rPr kumimoji="0" lang="nl-NL" sz="18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Source Sans Pro"/>
                <a:ea typeface="Helvetica Neue Medium"/>
                <a:cs typeface="Helvetica Neue Medium"/>
                <a:sym typeface="Helvetica Neue Medium"/>
              </a:rPr>
              <a:t>die </a:t>
            </a:r>
            <a:r>
              <a:rPr lang="nl-NL" sz="1800" dirty="0">
                <a:solidFill>
                  <a:schemeClr val="tx1"/>
                </a:solidFill>
                <a:latin typeface="Source Sans Pro"/>
                <a:ea typeface="Helvetica Neue Medium"/>
                <a:cs typeface="Helvetica Neue Medium"/>
                <a:sym typeface="Helvetica Neue Medium"/>
              </a:rPr>
              <a:t>onderdeel zijn</a:t>
            </a:r>
            <a:r>
              <a:rPr kumimoji="0" lang="nl-NL" sz="18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Source Sans Pro"/>
                <a:ea typeface="Helvetica Neue Medium"/>
                <a:cs typeface="Helvetica Neue Medium"/>
                <a:sym typeface="Helvetica Neue Medium"/>
              </a:rPr>
              <a:t> </a:t>
            </a:r>
            <a:r>
              <a:rPr lang="nl-NL" sz="1800" dirty="0">
                <a:solidFill>
                  <a:schemeClr val="tx1"/>
                </a:solidFill>
                <a:latin typeface="Source Sans Pro"/>
                <a:ea typeface="Helvetica Neue Medium"/>
                <a:cs typeface="Helvetica Neue Medium"/>
                <a:sym typeface="Helvetica Neue Medium"/>
              </a:rPr>
              <a:t>van</a:t>
            </a:r>
            <a:r>
              <a:rPr kumimoji="0" lang="nl-NL" sz="18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Source Sans Pro"/>
                <a:ea typeface="Helvetica Neue Medium"/>
                <a:cs typeface="Helvetica Neue Medium"/>
                <a:sym typeface="Helvetica Neue Medium"/>
              </a:rPr>
              <a:t> de transitie naar biobased bouwen</a:t>
            </a:r>
            <a:r>
              <a:rPr lang="nl-NL" sz="1800" dirty="0">
                <a:solidFill>
                  <a:schemeClr val="tx1"/>
                </a:solidFill>
                <a:latin typeface="Source Sans Pro"/>
                <a:ea typeface="Helvetica Neue Medium"/>
                <a:cs typeface="Helvetica Neue Medium"/>
                <a:sym typeface="Helvetica Neue Medium"/>
              </a:rPr>
              <a:t> </a:t>
            </a:r>
            <a:endParaRPr lang="nl-NL" sz="18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Source Sans Pro"/>
              <a:ea typeface="Helvetica Neue Medium"/>
              <a:cs typeface="Helvetica Neue Medium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800" dirty="0">
                <a:solidFill>
                  <a:schemeClr val="tx1"/>
                </a:solidFill>
                <a:latin typeface="Source Sans Pro"/>
                <a:ea typeface="Helvetica Neue Medium"/>
                <a:cs typeface="Helvetica Neue Medium"/>
                <a:sym typeface="Helvetica Neue Medium"/>
              </a:rPr>
              <a:t>V</a:t>
            </a:r>
            <a:r>
              <a:rPr kumimoji="0" lang="nl-NL" sz="18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Source Sans Pro"/>
                <a:ea typeface="Helvetica Neue Medium"/>
                <a:cs typeface="Helvetica Neue Medium"/>
                <a:sym typeface="Helvetica Neue Medium"/>
              </a:rPr>
              <a:t>an koplopers tot fanatieke </a:t>
            </a:r>
            <a:r>
              <a:rPr lang="nl-NL" sz="1800" dirty="0">
                <a:solidFill>
                  <a:schemeClr val="tx1"/>
                </a:solidFill>
                <a:latin typeface="Source Sans Pro"/>
                <a:ea typeface="Helvetica Neue Medium"/>
                <a:cs typeface="Helvetica Neue Medium"/>
                <a:sym typeface="Helvetica Neue Medium"/>
              </a:rPr>
              <a:t>volgers</a:t>
            </a:r>
            <a:endParaRPr lang="nl-NL" sz="18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Source Sans Pro"/>
              <a:ea typeface="Helvetica Neue Medium"/>
              <a:cs typeface="Helvetica Neue Medium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800" dirty="0">
                <a:solidFill>
                  <a:schemeClr val="tx1"/>
                </a:solidFill>
                <a:latin typeface="Source Sans Pro"/>
                <a:ea typeface="Helvetica Neue Medium"/>
                <a:cs typeface="Helvetica Neue Medium"/>
                <a:sym typeface="Helvetica Neue Medium"/>
              </a:rPr>
              <a:t>Die </a:t>
            </a:r>
            <a:r>
              <a:rPr kumimoji="0" lang="nl-NL" sz="18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Source Sans Pro"/>
                <a:ea typeface="Helvetica Neue Medium"/>
                <a:cs typeface="Helvetica Neue Medium"/>
                <a:sym typeface="Helvetica Neue Medium"/>
              </a:rPr>
              <a:t>gezamenlijk werken aan 1 toekomstbeeld op basis van de transitieagenda</a:t>
            </a:r>
            <a:endParaRPr lang="nl-NL" sz="18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Source Sans Pro"/>
              <a:ea typeface="Helvetica Neue Medium"/>
              <a:cs typeface="Helvetica Neue Medium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l-NL" sz="1800" dirty="0">
                <a:solidFill>
                  <a:schemeClr val="tx1"/>
                </a:solidFill>
                <a:latin typeface="Source Sans Pro"/>
                <a:ea typeface="Helvetica Neue Medium"/>
                <a:cs typeface="Helvetica Neue Medium"/>
                <a:sym typeface="Helvetica Neue Medium"/>
              </a:rPr>
              <a:t>Voornamelijk door middel van doorbraakprojecten die sociale, economische, juridische obstakels doorbreken </a:t>
            </a:r>
            <a:endParaRPr lang="nl-NL" sz="1800" dirty="0">
              <a:solidFill>
                <a:schemeClr val="tx1"/>
              </a:solidFill>
              <a:latin typeface="Source Sans Pro"/>
              <a:ea typeface="Helvetica Neue Medium"/>
              <a:cs typeface="Helvetica Neue Medium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l-NL" dirty="0">
              <a:solidFill>
                <a:schemeClr val="tx1"/>
              </a:solidFill>
              <a:latin typeface="Source Sans Pro"/>
              <a:ea typeface="Helvetica Neue Medium"/>
              <a:cs typeface="Helvetica Neue Medium"/>
            </a:endParaRPr>
          </a:p>
        </p:txBody>
      </p:sp>
      <p:pic>
        <p:nvPicPr>
          <p:cNvPr id="8" name="Tijdelijke aanduiding voor afbeelding 7" descr="Afbeelding met tekst, kleding, persoon, person&#10;&#10;Automatisch gegenereerde beschrijving">
            <a:extLst>
              <a:ext uri="{FF2B5EF4-FFF2-40B4-BE49-F238E27FC236}">
                <a16:creationId xmlns:a16="http://schemas.microsoft.com/office/drawing/2014/main" id="{BBCA2A56-8F1C-F2F0-9CD9-4BB462FC9BAB}"/>
              </a:ext>
            </a:extLst>
          </p:cNvPr>
          <p:cNvPicPr>
            <a:picLocks noGrp="1" noChangeAspect="1"/>
          </p:cNvPicPr>
          <p:nvPr>
            <p:ph type="pic"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73" r="16273"/>
          <a:stretch>
            <a:fillRect/>
          </a:stretch>
        </p:blipFill>
        <p:spPr/>
      </p:pic>
      <p:pic>
        <p:nvPicPr>
          <p:cNvPr id="10" name="Tijdelijke aanduiding voor afbeelding 9" descr="Afbeelding met kleding, persoon, vrouw, person&#10;&#10;Automatisch gegenereerde beschrijving">
            <a:extLst>
              <a:ext uri="{FF2B5EF4-FFF2-40B4-BE49-F238E27FC236}">
                <a16:creationId xmlns:a16="http://schemas.microsoft.com/office/drawing/2014/main" id="{0A066F25-F13B-1B2E-AD34-C44848B7F476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73" r="1627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775329525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F940C801-11AF-D310-E505-BB234D6A5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0293" y="0"/>
            <a:ext cx="4855801" cy="6858000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428862CC-554A-5D99-BB84-C8C3EA6B3778}"/>
              </a:ext>
            </a:extLst>
          </p:cNvPr>
          <p:cNvSpPr txBox="1">
            <a:spLocks/>
          </p:cNvSpPr>
          <p:nvPr/>
        </p:nvSpPr>
        <p:spPr>
          <a:xfrm>
            <a:off x="856329" y="790664"/>
            <a:ext cx="5239672" cy="762136"/>
          </a:xfrm>
          <a:prstGeom prst="rect">
            <a:avLst/>
          </a:prstGeom>
        </p:spPr>
        <p:txBody>
          <a:bodyPr/>
          <a:lstStyle>
            <a:lvl1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b="1" i="0" u="none" strike="noStrike" cap="none" spc="-85" baseline="0">
                <a:solidFill>
                  <a:srgbClr val="000000"/>
                </a:solidFill>
                <a:uFillTx/>
                <a:latin typeface="+mj-lt"/>
                <a:ea typeface="Source Sans Pro" panose="020B0503030403020204" pitchFamily="34" charset="0"/>
                <a:cs typeface="+mn-cs"/>
                <a:sym typeface="Helvetica Neue"/>
              </a:defRPr>
            </a:lvl1pPr>
            <a:lvl2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69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250" b="1" i="0" u="none" strike="noStrike" cap="none" spc="-85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r>
              <a:rPr lang="nl-NL" kern="0" dirty="0"/>
              <a:t>Transitieagenda</a:t>
            </a:r>
          </a:p>
        </p:txBody>
      </p:sp>
      <p:sp>
        <p:nvSpPr>
          <p:cNvPr id="6" name="Tijdelijke aanduiding voor inhoud 2">
            <a:extLst>
              <a:ext uri="{FF2B5EF4-FFF2-40B4-BE49-F238E27FC236}">
                <a16:creationId xmlns:a16="http://schemas.microsoft.com/office/drawing/2014/main" id="{87DEE385-C2BB-5655-FE35-2A2AAAF31887}"/>
              </a:ext>
            </a:extLst>
          </p:cNvPr>
          <p:cNvSpPr txBox="1">
            <a:spLocks/>
          </p:cNvSpPr>
          <p:nvPr/>
        </p:nvSpPr>
        <p:spPr>
          <a:xfrm>
            <a:off x="856330" y="1397267"/>
            <a:ext cx="4541294" cy="3882962"/>
          </a:xfrm>
          <a:prstGeom prst="rect">
            <a:avLst/>
          </a:prstGeom>
        </p:spPr>
        <p:txBody>
          <a:bodyPr lIns="91440" tIns="45720" rIns="91440" bIns="45720" anchor="t">
            <a:normAutofit/>
          </a:bodyPr>
          <a:lstStyle>
            <a:lvl1pPr marL="0" marR="0" indent="0" algn="l" defTabSz="1219169" rtl="0" eaLnBrk="1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2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Source Sans Pro" panose="020B0503030403020204" pitchFamily="34" charset="0"/>
                <a:cs typeface="+mn-cs"/>
                <a:sym typeface="Helvetica Neue"/>
              </a:defRPr>
            </a:lvl1pPr>
            <a:lvl2pPr marL="30480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2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Source Sans Pro" panose="020B0503030403020204" pitchFamily="34" charset="0"/>
                <a:cs typeface="+mn-cs"/>
                <a:sym typeface="Helvetica Neue"/>
              </a:defRPr>
            </a:lvl2pPr>
            <a:lvl3pPr marL="60960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2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Source Sans Pro" panose="020B0503030403020204" pitchFamily="34" charset="0"/>
                <a:cs typeface="+mn-cs"/>
                <a:sym typeface="Helvetica Neue"/>
              </a:defRPr>
            </a:lvl3pPr>
            <a:lvl4pPr marL="91440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2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Source Sans Pro" panose="020B0503030403020204" pitchFamily="34" charset="0"/>
                <a:cs typeface="+mn-cs"/>
                <a:sym typeface="Helvetica Neue"/>
              </a:defRPr>
            </a:lvl4pPr>
            <a:lvl5pPr marL="1219200" marR="0" indent="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2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Source Sans Pro" panose="020B0503030403020204" pitchFamily="34" charset="0"/>
                <a:cs typeface="+mn-cs"/>
                <a:sym typeface="Helvetica Neue"/>
              </a:defRPr>
            </a:lvl5pPr>
            <a:lvl6pPr marL="18288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21336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24384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2743200" marR="0" indent="-304800" algn="l" defTabSz="1219169" rtl="0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r>
              <a:rPr lang="nl-NL" sz="1800" kern="0" dirty="0">
                <a:ea typeface="Source Sans Pro"/>
              </a:rPr>
              <a:t>Netwerkleden hebben samen gewerkt aan een transitieagenda waarin een gewenst toekomstbeeld wordt geschetst</a:t>
            </a:r>
          </a:p>
          <a:p>
            <a:endParaRPr lang="nl-NL" kern="0" dirty="0"/>
          </a:p>
        </p:txBody>
      </p:sp>
      <p:pic>
        <p:nvPicPr>
          <p:cNvPr id="8" name="Picture 4" descr="Afbeelding met diagram&#10;&#10;Automatisch gegenereerde beschrijving">
            <a:extLst>
              <a:ext uri="{FF2B5EF4-FFF2-40B4-BE49-F238E27FC236}">
                <a16:creationId xmlns:a16="http://schemas.microsoft.com/office/drawing/2014/main" id="{EAFD8EEA-14CD-08CD-E0A9-599F4D0594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281" y="2918936"/>
            <a:ext cx="2685338" cy="1842088"/>
          </a:xfrm>
          <a:prstGeom prst="rect">
            <a:avLst/>
          </a:prstGeom>
        </p:spPr>
      </p:pic>
      <p:pic>
        <p:nvPicPr>
          <p:cNvPr id="10" name="Picture 5" descr="Afbeelding met diagram&#10;&#10;Automatisch gegenereerde beschrijving">
            <a:extLst>
              <a:ext uri="{FF2B5EF4-FFF2-40B4-BE49-F238E27FC236}">
                <a16:creationId xmlns:a16="http://schemas.microsoft.com/office/drawing/2014/main" id="{2F44172D-D7FD-7EB2-2A37-9F3F1FFCFA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8987" y="2920422"/>
            <a:ext cx="2693956" cy="1836039"/>
          </a:xfrm>
          <a:prstGeom prst="rect">
            <a:avLst/>
          </a:prstGeom>
        </p:spPr>
      </p:pic>
      <p:pic>
        <p:nvPicPr>
          <p:cNvPr id="12" name="Picture 6" descr="Afbeelding met diagram&#10;&#10;Automatisch gegenereerde beschrijving">
            <a:extLst>
              <a:ext uri="{FF2B5EF4-FFF2-40B4-BE49-F238E27FC236}">
                <a16:creationId xmlns:a16="http://schemas.microsoft.com/office/drawing/2014/main" id="{B1FF4B22-BCEA-9009-3FE4-C4DB771C26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163" y="4914969"/>
            <a:ext cx="2685338" cy="1884952"/>
          </a:xfrm>
          <a:prstGeom prst="rect">
            <a:avLst/>
          </a:prstGeom>
        </p:spPr>
      </p:pic>
      <p:pic>
        <p:nvPicPr>
          <p:cNvPr id="14" name="Picture 7" descr="Afbeelding met diagram&#10;&#10;Automatisch gegenereerde beschrijving">
            <a:extLst>
              <a:ext uri="{FF2B5EF4-FFF2-40B4-BE49-F238E27FC236}">
                <a16:creationId xmlns:a16="http://schemas.microsoft.com/office/drawing/2014/main" id="{6FD7EC53-ABCB-4A67-CE93-F377A0FAFE4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4943" y="4910918"/>
            <a:ext cx="2693956" cy="1884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120498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ECEA95-FCF6-A98B-0F13-E8525EE23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329" y="1171402"/>
            <a:ext cx="10732421" cy="762136"/>
          </a:xfrm>
        </p:spPr>
        <p:txBody>
          <a:bodyPr>
            <a:normAutofit/>
          </a:bodyPr>
          <a:lstStyle/>
          <a:p>
            <a:r>
              <a:rPr lang="nl-NL" sz="2400" dirty="0"/>
              <a:t>  </a:t>
            </a:r>
            <a:r>
              <a:rPr lang="nl-NL" sz="2400" dirty="0" err="1"/>
              <a:t>Vezelverwerkingshub</a:t>
            </a:r>
            <a:r>
              <a:rPr lang="nl-NL" sz="2400" dirty="0"/>
              <a:t>                Biobased isolatie alternatief	                  Optopp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275BB49-A0B9-3280-1C10-061867B69F8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C0E23F3-F167-77AA-A531-5F7B6AB981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77500" lnSpcReduction="20000"/>
          </a:bodyPr>
          <a:lstStyle/>
          <a:p>
            <a:r>
              <a:rPr lang="nl-NL" sz="1800" dirty="0"/>
              <a:t>De doorbraaklijnen</a:t>
            </a:r>
          </a:p>
        </p:txBody>
      </p:sp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33B444CC-386B-99A1-D84C-078F609900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095" y="1948725"/>
            <a:ext cx="3854490" cy="4905352"/>
          </a:xfrm>
          <a:prstGeom prst="rect">
            <a:avLst/>
          </a:prstGeom>
        </p:spPr>
      </p:pic>
      <p:pic>
        <p:nvPicPr>
          <p:cNvPr id="6" name="Picture 5" descr="A picture containing diagram&#10;&#10;Description automatically generated">
            <a:extLst>
              <a:ext uri="{FF2B5EF4-FFF2-40B4-BE49-F238E27FC236}">
                <a16:creationId xmlns:a16="http://schemas.microsoft.com/office/drawing/2014/main" id="{499A8C07-20D6-A737-0526-16F9B9CC1DA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3303" y="1950699"/>
            <a:ext cx="3865394" cy="4907302"/>
          </a:xfrm>
          <a:prstGeom prst="rect">
            <a:avLst/>
          </a:prstGeom>
        </p:spPr>
      </p:pic>
      <p:pic>
        <p:nvPicPr>
          <p:cNvPr id="7" name="Picture 5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CEB9E5BD-949D-5C9A-0485-EC88F61736C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28697" y="1946775"/>
            <a:ext cx="3854490" cy="4907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66999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heme/theme1.xml><?xml version="1.0" encoding="utf-8"?>
<a:theme xmlns:a="http://schemas.openxmlformats.org/drawingml/2006/main" name="Squarewise">
  <a:themeElements>
    <a:clrScheme name="Squarewise">
      <a:dk1>
        <a:srgbClr val="000000"/>
      </a:dk1>
      <a:lt1>
        <a:srgbClr val="FFFFFF"/>
      </a:lt1>
      <a:dk2>
        <a:srgbClr val="676368"/>
      </a:dk2>
      <a:lt2>
        <a:srgbClr val="C7E8E7"/>
      </a:lt2>
      <a:accent1>
        <a:srgbClr val="095139"/>
      </a:accent1>
      <a:accent2>
        <a:srgbClr val="8FD0D0"/>
      </a:accent2>
      <a:accent3>
        <a:srgbClr val="DADACD"/>
      </a:accent3>
      <a:accent4>
        <a:srgbClr val="FDCA13"/>
      </a:accent4>
      <a:accent5>
        <a:srgbClr val="E75B21"/>
      </a:accent5>
      <a:accent6>
        <a:srgbClr val="030303"/>
      </a:accent6>
      <a:hlink>
        <a:srgbClr val="030303"/>
      </a:hlink>
      <a:folHlink>
        <a:srgbClr val="8FD0D0"/>
      </a:folHlink>
    </a:clrScheme>
    <a:fontScheme name="Squarewise 2021">
      <a:majorFont>
        <a:latin typeface="Source Sans Pro SemiBold"/>
        <a:ea typeface="Helvetica Neue"/>
        <a:cs typeface="Helvetica Neue"/>
      </a:majorFont>
      <a:minorFont>
        <a:latin typeface="Source Sans Pro"/>
        <a:ea typeface="Helvetica Neue"/>
        <a:cs typeface="Helvetica Neue"/>
      </a:minorFont>
    </a:fontScheme>
    <a:fmtScheme name="21_Basic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2438338" rtl="0" fontAlgn="auto" latinLnBrk="0" hangingPunct="0">
          <a:lnSpc>
            <a:spcPct val="90000"/>
          </a:lnSpc>
          <a:spcBef>
            <a:spcPts val="4500"/>
          </a:spcBef>
          <a:spcAft>
            <a:spcPts val="0"/>
          </a:spcAft>
          <a:buClrTx/>
          <a:buSzTx/>
          <a:buFontTx/>
          <a:buNone/>
          <a:tabLst/>
          <a:defRPr kumimoji="0" sz="4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Squarewise - Presentatie Leeg.potx" id="{135D3206-83FF-48B5-8CB5-A8E5F04B590E}" vid="{ACE5D3DB-661A-4CA3-A4E1-AAF2823E37E3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46ff75a-2ebb-4af0-8234-2ad33a61d444">
      <Terms xmlns="http://schemas.microsoft.com/office/infopath/2007/PartnerControls"/>
    </lcf76f155ced4ddcb4097134ff3c332f>
    <TaxCatchAll xmlns="4f87f5c5-bcee-4be6-a20f-272dee480f1d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D4FE7D942CEAA48B4A88C4A9215533A" ma:contentTypeVersion="16" ma:contentTypeDescription="Een nieuw document maken." ma:contentTypeScope="" ma:versionID="9f526f7c2eb8365a4375993966c31472">
  <xsd:schema xmlns:xsd="http://www.w3.org/2001/XMLSchema" xmlns:xs="http://www.w3.org/2001/XMLSchema" xmlns:p="http://schemas.microsoft.com/office/2006/metadata/properties" xmlns:ns2="f46ff75a-2ebb-4af0-8234-2ad33a61d444" xmlns:ns3="4f87f5c5-bcee-4be6-a20f-272dee480f1d" targetNamespace="http://schemas.microsoft.com/office/2006/metadata/properties" ma:root="true" ma:fieldsID="7c2b6fd445d2e841fd5a5e042e47f9bd" ns2:_="" ns3:_="">
    <xsd:import namespace="f46ff75a-2ebb-4af0-8234-2ad33a61d444"/>
    <xsd:import namespace="4f87f5c5-bcee-4be6-a20f-272dee480f1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6ff75a-2ebb-4af0-8234-2ad33a61d4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bb11c618-c500-4016-aacb-f46bc7b8a4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7f5c5-bcee-4be6-a20f-272dee480f1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210928e-9e89-483e-84d8-0310cffa8703}" ma:internalName="TaxCatchAll" ma:showField="CatchAllData" ma:web="4f87f5c5-bcee-4be6-a20f-272dee480f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2126E5D-213A-401B-AD32-288D67C30C24}">
  <ds:schemaRefs>
    <ds:schemaRef ds:uri="4f87f5c5-bcee-4be6-a20f-272dee480f1d"/>
    <ds:schemaRef ds:uri="f46ff75a-2ebb-4af0-8234-2ad33a61d444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F507138-8849-4608-B611-FE71E77F93A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8A636D9-10F5-4887-A6B9-F55159E32860}">
  <ds:schemaRefs>
    <ds:schemaRef ds:uri="4f87f5c5-bcee-4be6-a20f-272dee480f1d"/>
    <ds:schemaRef ds:uri="f46ff75a-2ebb-4af0-8234-2ad33a61d44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87</TotalTime>
  <Words>78</Words>
  <Application>Microsoft Office PowerPoint</Application>
  <PresentationFormat>Breedbeeld</PresentationFormat>
  <Paragraphs>14</Paragraphs>
  <Slides>4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14" baseType="lpstr">
      <vt:lpstr>Arial</vt:lpstr>
      <vt:lpstr>Calibri</vt:lpstr>
      <vt:lpstr>Georgia</vt:lpstr>
      <vt:lpstr>Helvetica Neue Medium</vt:lpstr>
      <vt:lpstr>Source Sans Pro</vt:lpstr>
      <vt:lpstr>Source Sans Pro Light</vt:lpstr>
      <vt:lpstr>Source Sans Pro Regular</vt:lpstr>
      <vt:lpstr>Source Sans Pro SemiBold</vt:lpstr>
      <vt:lpstr>Squarewise</vt:lpstr>
      <vt:lpstr>think-cell Slide</vt:lpstr>
      <vt:lpstr>PowerPoint-presentatie</vt:lpstr>
      <vt:lpstr>Wat is het Vernieuwersnetwerk?</vt:lpstr>
      <vt:lpstr>PowerPoint-presentatie</vt:lpstr>
      <vt:lpstr>  Vezelverwerkingshub                Biobased isolatie alternatief                   Optopp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Charlotte Derksen</dc:creator>
  <cp:lastModifiedBy>Leonie van der Steen</cp:lastModifiedBy>
  <cp:revision>27</cp:revision>
  <dcterms:created xsi:type="dcterms:W3CDTF">2023-06-06T13:35:11Z</dcterms:created>
  <dcterms:modified xsi:type="dcterms:W3CDTF">2023-06-08T08:46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4FE7D942CEAA48B4A88C4A9215533A</vt:lpwstr>
  </property>
  <property fmtid="{D5CDD505-2E9C-101B-9397-08002B2CF9AE}" pid="3" name="MediaServiceImageTags">
    <vt:lpwstr/>
  </property>
</Properties>
</file>